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5"/>
  </p:sldMasterIdLst>
  <p:notesMasterIdLst>
    <p:notesMasterId r:id="rId155"/>
  </p:notesMasterIdLst>
  <p:handoutMasterIdLst>
    <p:handoutMasterId r:id="rId156"/>
  </p:handoutMasterIdLst>
  <p:sldIdLst>
    <p:sldId id="286" r:id="rId6"/>
    <p:sldId id="300" r:id="rId7"/>
    <p:sldId id="326" r:id="rId8"/>
    <p:sldId id="390" r:id="rId9"/>
    <p:sldId id="397" r:id="rId10"/>
    <p:sldId id="402" r:id="rId11"/>
    <p:sldId id="403" r:id="rId12"/>
    <p:sldId id="404" r:id="rId13"/>
    <p:sldId id="405" r:id="rId14"/>
    <p:sldId id="406" r:id="rId15"/>
    <p:sldId id="407" r:id="rId16"/>
    <p:sldId id="408" r:id="rId17"/>
    <p:sldId id="409" r:id="rId18"/>
    <p:sldId id="410" r:id="rId19"/>
    <p:sldId id="411" r:id="rId20"/>
    <p:sldId id="412" r:id="rId21"/>
    <p:sldId id="413" r:id="rId22"/>
    <p:sldId id="414" r:id="rId23"/>
    <p:sldId id="415" r:id="rId24"/>
    <p:sldId id="416" r:id="rId25"/>
    <p:sldId id="417" r:id="rId26"/>
    <p:sldId id="418" r:id="rId27"/>
    <p:sldId id="419" r:id="rId28"/>
    <p:sldId id="420" r:id="rId29"/>
    <p:sldId id="421" r:id="rId30"/>
    <p:sldId id="398" r:id="rId31"/>
    <p:sldId id="422" r:id="rId32"/>
    <p:sldId id="423" r:id="rId33"/>
    <p:sldId id="541" r:id="rId34"/>
    <p:sldId id="424" r:id="rId35"/>
    <p:sldId id="426" r:id="rId36"/>
    <p:sldId id="439" r:id="rId37"/>
    <p:sldId id="428" r:id="rId38"/>
    <p:sldId id="429" r:id="rId39"/>
    <p:sldId id="440" r:id="rId40"/>
    <p:sldId id="430" r:id="rId41"/>
    <p:sldId id="441" r:id="rId42"/>
    <p:sldId id="431" r:id="rId43"/>
    <p:sldId id="432" r:id="rId44"/>
    <p:sldId id="433" r:id="rId45"/>
    <p:sldId id="434" r:id="rId46"/>
    <p:sldId id="442" r:id="rId47"/>
    <p:sldId id="435" r:id="rId48"/>
    <p:sldId id="436" r:id="rId49"/>
    <p:sldId id="443" r:id="rId50"/>
    <p:sldId id="437" r:id="rId51"/>
    <p:sldId id="438" r:id="rId52"/>
    <p:sldId id="444" r:id="rId53"/>
    <p:sldId id="517" r:id="rId54"/>
    <p:sldId id="447" r:id="rId55"/>
    <p:sldId id="446" r:id="rId56"/>
    <p:sldId id="448" r:id="rId57"/>
    <p:sldId id="449" r:id="rId58"/>
    <p:sldId id="518" r:id="rId59"/>
    <p:sldId id="519" r:id="rId60"/>
    <p:sldId id="520" r:id="rId61"/>
    <p:sldId id="450" r:id="rId62"/>
    <p:sldId id="543" r:id="rId63"/>
    <p:sldId id="545" r:id="rId64"/>
    <p:sldId id="544" r:id="rId65"/>
    <p:sldId id="546" r:id="rId66"/>
    <p:sldId id="542" r:id="rId67"/>
    <p:sldId id="451" r:id="rId68"/>
    <p:sldId id="452" r:id="rId69"/>
    <p:sldId id="453" r:id="rId70"/>
    <p:sldId id="471" r:id="rId71"/>
    <p:sldId id="454" r:id="rId72"/>
    <p:sldId id="472" r:id="rId73"/>
    <p:sldId id="547" r:id="rId74"/>
    <p:sldId id="540" r:id="rId75"/>
    <p:sldId id="521" r:id="rId76"/>
    <p:sldId id="522" r:id="rId77"/>
    <p:sldId id="548" r:id="rId78"/>
    <p:sldId id="532" r:id="rId79"/>
    <p:sldId id="549" r:id="rId80"/>
    <p:sldId id="550" r:id="rId81"/>
    <p:sldId id="551" r:id="rId82"/>
    <p:sldId id="552" r:id="rId83"/>
    <p:sldId id="553" r:id="rId84"/>
    <p:sldId id="523" r:id="rId85"/>
    <p:sldId id="556" r:id="rId86"/>
    <p:sldId id="555" r:id="rId87"/>
    <p:sldId id="554" r:id="rId88"/>
    <p:sldId id="524" r:id="rId89"/>
    <p:sldId id="525" r:id="rId90"/>
    <p:sldId id="526" r:id="rId91"/>
    <p:sldId id="557" r:id="rId92"/>
    <p:sldId id="558" r:id="rId93"/>
    <p:sldId id="559" r:id="rId94"/>
    <p:sldId id="560" r:id="rId95"/>
    <p:sldId id="527" r:id="rId96"/>
    <p:sldId id="561" r:id="rId97"/>
    <p:sldId id="529" r:id="rId98"/>
    <p:sldId id="562" r:id="rId99"/>
    <p:sldId id="530" r:id="rId100"/>
    <p:sldId id="563" r:id="rId101"/>
    <p:sldId id="533" r:id="rId102"/>
    <p:sldId id="534" r:id="rId103"/>
    <p:sldId id="535" r:id="rId104"/>
    <p:sldId id="564" r:id="rId105"/>
    <p:sldId id="536" r:id="rId106"/>
    <p:sldId id="537" r:id="rId107"/>
    <p:sldId id="538" r:id="rId108"/>
    <p:sldId id="539" r:id="rId109"/>
    <p:sldId id="565" r:id="rId110"/>
    <p:sldId id="567" r:id="rId111"/>
    <p:sldId id="568" r:id="rId112"/>
    <p:sldId id="569" r:id="rId113"/>
    <p:sldId id="570" r:id="rId114"/>
    <p:sldId id="571" r:id="rId115"/>
    <p:sldId id="566" r:id="rId116"/>
    <p:sldId id="455" r:id="rId117"/>
    <p:sldId id="473" r:id="rId118"/>
    <p:sldId id="456" r:id="rId119"/>
    <p:sldId id="457" r:id="rId120"/>
    <p:sldId id="458" r:id="rId121"/>
    <p:sldId id="474" r:id="rId122"/>
    <p:sldId id="459" r:id="rId123"/>
    <p:sldId id="460" r:id="rId124"/>
    <p:sldId id="461" r:id="rId125"/>
    <p:sldId id="462" r:id="rId126"/>
    <p:sldId id="475" r:id="rId127"/>
    <p:sldId id="400" r:id="rId128"/>
    <p:sldId id="494" r:id="rId129"/>
    <p:sldId id="495" r:id="rId130"/>
    <p:sldId id="496" r:id="rId131"/>
    <p:sldId id="497" r:id="rId132"/>
    <p:sldId id="498" r:id="rId133"/>
    <p:sldId id="499" r:id="rId134"/>
    <p:sldId id="500" r:id="rId135"/>
    <p:sldId id="501" r:id="rId136"/>
    <p:sldId id="572" r:id="rId137"/>
    <p:sldId id="502" r:id="rId138"/>
    <p:sldId id="510" r:id="rId139"/>
    <p:sldId id="509" r:id="rId140"/>
    <p:sldId id="503" r:id="rId141"/>
    <p:sldId id="504" r:id="rId142"/>
    <p:sldId id="505" r:id="rId143"/>
    <p:sldId id="506" r:id="rId144"/>
    <p:sldId id="511" r:id="rId145"/>
    <p:sldId id="507" r:id="rId146"/>
    <p:sldId id="508" r:id="rId147"/>
    <p:sldId id="401" r:id="rId148"/>
    <p:sldId id="512" r:id="rId149"/>
    <p:sldId id="513" r:id="rId150"/>
    <p:sldId id="514" r:id="rId151"/>
    <p:sldId id="515" r:id="rId152"/>
    <p:sldId id="516" r:id="rId153"/>
    <p:sldId id="324" r:id="rId154"/>
  </p:sldIdLst>
  <p:sldSz cx="9144000" cy="5143500" type="screen16x9"/>
  <p:notesSz cx="6797675" cy="9926638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isclaimer" id="{7D1A2F5C-4CB0-EA4D-856F-B1C66709E451}">
          <p14:sldIdLst/>
        </p14:section>
        <p14:section name="Presentation" id="{FB104004-E473-0D4B-8243-AF4D6966DA67}">
          <p14:sldIdLst>
            <p14:sldId id="286"/>
            <p14:sldId id="300"/>
            <p14:sldId id="326"/>
            <p14:sldId id="390"/>
            <p14:sldId id="397"/>
            <p14:sldId id="402"/>
            <p14:sldId id="403"/>
            <p14:sldId id="404"/>
            <p14:sldId id="405"/>
            <p14:sldId id="406"/>
            <p14:sldId id="407"/>
            <p14:sldId id="408"/>
            <p14:sldId id="409"/>
            <p14:sldId id="410"/>
            <p14:sldId id="411"/>
            <p14:sldId id="412"/>
            <p14:sldId id="413"/>
            <p14:sldId id="414"/>
            <p14:sldId id="415"/>
            <p14:sldId id="416"/>
            <p14:sldId id="417"/>
            <p14:sldId id="418"/>
            <p14:sldId id="419"/>
            <p14:sldId id="420"/>
            <p14:sldId id="421"/>
            <p14:sldId id="398"/>
            <p14:sldId id="422"/>
            <p14:sldId id="423"/>
            <p14:sldId id="541"/>
            <p14:sldId id="424"/>
            <p14:sldId id="426"/>
            <p14:sldId id="439"/>
            <p14:sldId id="428"/>
            <p14:sldId id="429"/>
            <p14:sldId id="440"/>
            <p14:sldId id="430"/>
            <p14:sldId id="441"/>
            <p14:sldId id="431"/>
            <p14:sldId id="432"/>
            <p14:sldId id="433"/>
            <p14:sldId id="434"/>
            <p14:sldId id="442"/>
            <p14:sldId id="435"/>
            <p14:sldId id="436"/>
            <p14:sldId id="443"/>
            <p14:sldId id="437"/>
            <p14:sldId id="438"/>
            <p14:sldId id="444"/>
            <p14:sldId id="517"/>
            <p14:sldId id="447"/>
            <p14:sldId id="446"/>
            <p14:sldId id="448"/>
            <p14:sldId id="449"/>
            <p14:sldId id="518"/>
            <p14:sldId id="519"/>
            <p14:sldId id="520"/>
            <p14:sldId id="450"/>
            <p14:sldId id="543"/>
            <p14:sldId id="545"/>
            <p14:sldId id="544"/>
            <p14:sldId id="546"/>
            <p14:sldId id="542"/>
            <p14:sldId id="451"/>
            <p14:sldId id="452"/>
            <p14:sldId id="453"/>
            <p14:sldId id="471"/>
            <p14:sldId id="454"/>
            <p14:sldId id="472"/>
            <p14:sldId id="547"/>
            <p14:sldId id="540"/>
            <p14:sldId id="521"/>
            <p14:sldId id="522"/>
            <p14:sldId id="548"/>
            <p14:sldId id="532"/>
            <p14:sldId id="549"/>
            <p14:sldId id="550"/>
            <p14:sldId id="551"/>
            <p14:sldId id="552"/>
            <p14:sldId id="553"/>
            <p14:sldId id="523"/>
            <p14:sldId id="556"/>
            <p14:sldId id="555"/>
            <p14:sldId id="554"/>
            <p14:sldId id="524"/>
            <p14:sldId id="525"/>
            <p14:sldId id="526"/>
            <p14:sldId id="557"/>
            <p14:sldId id="558"/>
            <p14:sldId id="559"/>
            <p14:sldId id="560"/>
            <p14:sldId id="527"/>
            <p14:sldId id="561"/>
            <p14:sldId id="529"/>
            <p14:sldId id="562"/>
            <p14:sldId id="530"/>
            <p14:sldId id="563"/>
            <p14:sldId id="533"/>
            <p14:sldId id="534"/>
            <p14:sldId id="535"/>
            <p14:sldId id="564"/>
            <p14:sldId id="536"/>
            <p14:sldId id="537"/>
            <p14:sldId id="538"/>
            <p14:sldId id="539"/>
            <p14:sldId id="565"/>
            <p14:sldId id="567"/>
            <p14:sldId id="568"/>
            <p14:sldId id="569"/>
            <p14:sldId id="570"/>
            <p14:sldId id="571"/>
            <p14:sldId id="566"/>
            <p14:sldId id="455"/>
            <p14:sldId id="473"/>
            <p14:sldId id="456"/>
            <p14:sldId id="457"/>
            <p14:sldId id="458"/>
            <p14:sldId id="474"/>
            <p14:sldId id="459"/>
            <p14:sldId id="460"/>
            <p14:sldId id="461"/>
            <p14:sldId id="462"/>
            <p14:sldId id="475"/>
            <p14:sldId id="400"/>
            <p14:sldId id="494"/>
            <p14:sldId id="495"/>
            <p14:sldId id="496"/>
            <p14:sldId id="497"/>
            <p14:sldId id="498"/>
            <p14:sldId id="499"/>
            <p14:sldId id="500"/>
            <p14:sldId id="501"/>
            <p14:sldId id="572"/>
            <p14:sldId id="502"/>
            <p14:sldId id="510"/>
            <p14:sldId id="509"/>
            <p14:sldId id="503"/>
            <p14:sldId id="504"/>
            <p14:sldId id="505"/>
            <p14:sldId id="506"/>
            <p14:sldId id="511"/>
            <p14:sldId id="507"/>
            <p14:sldId id="508"/>
            <p14:sldId id="401"/>
            <p14:sldId id="512"/>
            <p14:sldId id="513"/>
            <p14:sldId id="514"/>
            <p14:sldId id="515"/>
            <p14:sldId id="516"/>
            <p14:sldId id="324"/>
          </p14:sldIdLst>
        </p14:section>
        <p14:section name="Backup" id="{FBB7FFEC-A1B1-4B4C-8405-9442B649FA73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452">
          <p15:clr>
            <a:srgbClr val="A4A3A4"/>
          </p15:clr>
        </p15:guide>
        <p15:guide id="2" orient="horz" pos="776">
          <p15:clr>
            <a:srgbClr val="A4A3A4"/>
          </p15:clr>
        </p15:guide>
        <p15:guide id="3" orient="horz" pos="190">
          <p15:clr>
            <a:srgbClr val="A4A3A4"/>
          </p15:clr>
        </p15:guide>
        <p15:guide id="4" orient="horz" pos="1234" userDrawn="1">
          <p15:clr>
            <a:srgbClr val="A4A3A4"/>
          </p15:clr>
        </p15:guide>
        <p15:guide id="5" orient="horz" pos="1676">
          <p15:clr>
            <a:srgbClr val="A4A3A4"/>
          </p15:clr>
        </p15:guide>
        <p15:guide id="6" orient="horz" pos="1257" userDrawn="1">
          <p15:clr>
            <a:srgbClr val="A4A3A4"/>
          </p15:clr>
        </p15:guide>
        <p15:guide id="8" pos="3903">
          <p15:clr>
            <a:srgbClr val="A4A3A4"/>
          </p15:clr>
        </p15:guide>
        <p15:guide id="9" pos="2880">
          <p15:clr>
            <a:srgbClr val="A4A3A4"/>
          </p15:clr>
        </p15:guide>
        <p15:guide id="11" pos="54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7" clrIdx="0"/>
  <p:cmAuthor id="1" name="Windows-Benutzer" initials="W" lastIdx="1" clrIdx="1"/>
  <p:cmAuthor id="2" name="GFT" initials="G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D9C04"/>
    <a:srgbClr val="3594E8"/>
    <a:srgbClr val="131E59"/>
    <a:srgbClr val="008AC9"/>
    <a:srgbClr val="2649FF"/>
    <a:srgbClr val="1187A0"/>
    <a:srgbClr val="0E72A7"/>
    <a:srgbClr val="1083CF"/>
    <a:srgbClr val="192C6C"/>
    <a:srgbClr val="1189B5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12" autoAdjust="0"/>
    <p:restoredTop sz="97344" autoAdjust="0"/>
  </p:normalViewPr>
  <p:slideViewPr>
    <p:cSldViewPr snapToGrid="0" snapToObjects="1">
      <p:cViewPr>
        <p:scale>
          <a:sx n="110" d="100"/>
          <a:sy n="110" d="100"/>
        </p:scale>
        <p:origin x="86" y="62"/>
      </p:cViewPr>
      <p:guideLst>
        <p:guide orient="horz" pos="1452"/>
        <p:guide orient="horz" pos="776"/>
        <p:guide orient="horz" pos="190"/>
        <p:guide orient="horz" pos="1234"/>
        <p:guide orient="horz" pos="1676"/>
        <p:guide orient="horz" pos="1257"/>
        <p:guide pos="3903"/>
        <p:guide pos="2880"/>
        <p:guide pos="5480"/>
      </p:guideLst>
    </p:cSldViewPr>
  </p:slideViewPr>
  <p:outlineViewPr>
    <p:cViewPr>
      <p:scale>
        <a:sx n="33" d="100"/>
        <a:sy n="33" d="100"/>
      </p:scale>
      <p:origin x="0" y="11602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-470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117" Type="http://schemas.openxmlformats.org/officeDocument/2006/relationships/slide" Target="slides/slide112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112" Type="http://schemas.openxmlformats.org/officeDocument/2006/relationships/slide" Target="slides/slide107.xml"/><Relationship Id="rId133" Type="http://schemas.openxmlformats.org/officeDocument/2006/relationships/slide" Target="slides/slide128.xml"/><Relationship Id="rId138" Type="http://schemas.openxmlformats.org/officeDocument/2006/relationships/slide" Target="slides/slide133.xml"/><Relationship Id="rId154" Type="http://schemas.openxmlformats.org/officeDocument/2006/relationships/slide" Target="slides/slide149.xml"/><Relationship Id="rId159" Type="http://schemas.openxmlformats.org/officeDocument/2006/relationships/viewProps" Target="viewProps.xml"/><Relationship Id="rId16" Type="http://schemas.openxmlformats.org/officeDocument/2006/relationships/slide" Target="slides/slide11.xml"/><Relationship Id="rId107" Type="http://schemas.openxmlformats.org/officeDocument/2006/relationships/slide" Target="slides/slide102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102" Type="http://schemas.openxmlformats.org/officeDocument/2006/relationships/slide" Target="slides/slide97.xml"/><Relationship Id="rId123" Type="http://schemas.openxmlformats.org/officeDocument/2006/relationships/slide" Target="slides/slide118.xml"/><Relationship Id="rId128" Type="http://schemas.openxmlformats.org/officeDocument/2006/relationships/slide" Target="slides/slide123.xml"/><Relationship Id="rId144" Type="http://schemas.openxmlformats.org/officeDocument/2006/relationships/slide" Target="slides/slide139.xml"/><Relationship Id="rId149" Type="http://schemas.openxmlformats.org/officeDocument/2006/relationships/slide" Target="slides/slide144.xml"/><Relationship Id="rId5" Type="http://schemas.openxmlformats.org/officeDocument/2006/relationships/slideMaster" Target="slideMasters/slideMaster1.xml"/><Relationship Id="rId90" Type="http://schemas.openxmlformats.org/officeDocument/2006/relationships/slide" Target="slides/slide85.xml"/><Relationship Id="rId95" Type="http://schemas.openxmlformats.org/officeDocument/2006/relationships/slide" Target="slides/slide90.xml"/><Relationship Id="rId160" Type="http://schemas.openxmlformats.org/officeDocument/2006/relationships/theme" Target="theme/theme1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113" Type="http://schemas.openxmlformats.org/officeDocument/2006/relationships/slide" Target="slides/slide108.xml"/><Relationship Id="rId118" Type="http://schemas.openxmlformats.org/officeDocument/2006/relationships/slide" Target="slides/slide113.xml"/><Relationship Id="rId134" Type="http://schemas.openxmlformats.org/officeDocument/2006/relationships/slide" Target="slides/slide129.xml"/><Relationship Id="rId139" Type="http://schemas.openxmlformats.org/officeDocument/2006/relationships/slide" Target="slides/slide134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150" Type="http://schemas.openxmlformats.org/officeDocument/2006/relationships/slide" Target="slides/slide145.xml"/><Relationship Id="rId155" Type="http://schemas.openxmlformats.org/officeDocument/2006/relationships/notesMaster" Target="notesMasters/notesMaster1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59" Type="http://schemas.openxmlformats.org/officeDocument/2006/relationships/slide" Target="slides/slide54.xml"/><Relationship Id="rId103" Type="http://schemas.openxmlformats.org/officeDocument/2006/relationships/slide" Target="slides/slide98.xml"/><Relationship Id="rId108" Type="http://schemas.openxmlformats.org/officeDocument/2006/relationships/slide" Target="slides/slide103.xml"/><Relationship Id="rId124" Type="http://schemas.openxmlformats.org/officeDocument/2006/relationships/slide" Target="slides/slide119.xml"/><Relationship Id="rId129" Type="http://schemas.openxmlformats.org/officeDocument/2006/relationships/slide" Target="slides/slide124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91" Type="http://schemas.openxmlformats.org/officeDocument/2006/relationships/slide" Target="slides/slide86.xml"/><Relationship Id="rId96" Type="http://schemas.openxmlformats.org/officeDocument/2006/relationships/slide" Target="slides/slide91.xml"/><Relationship Id="rId111" Type="http://schemas.openxmlformats.org/officeDocument/2006/relationships/slide" Target="slides/slide106.xml"/><Relationship Id="rId132" Type="http://schemas.openxmlformats.org/officeDocument/2006/relationships/slide" Target="slides/slide127.xml"/><Relationship Id="rId140" Type="http://schemas.openxmlformats.org/officeDocument/2006/relationships/slide" Target="slides/slide135.xml"/><Relationship Id="rId145" Type="http://schemas.openxmlformats.org/officeDocument/2006/relationships/slide" Target="slides/slide140.xml"/><Relationship Id="rId153" Type="http://schemas.openxmlformats.org/officeDocument/2006/relationships/slide" Target="slides/slide148.xml"/><Relationship Id="rId16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6" Type="http://schemas.openxmlformats.org/officeDocument/2006/relationships/slide" Target="slides/slide101.xml"/><Relationship Id="rId114" Type="http://schemas.openxmlformats.org/officeDocument/2006/relationships/slide" Target="slides/slide109.xml"/><Relationship Id="rId119" Type="http://schemas.openxmlformats.org/officeDocument/2006/relationships/slide" Target="slides/slide114.xml"/><Relationship Id="rId127" Type="http://schemas.openxmlformats.org/officeDocument/2006/relationships/slide" Target="slides/slide12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slide" Target="slides/slide89.xml"/><Relationship Id="rId99" Type="http://schemas.openxmlformats.org/officeDocument/2006/relationships/slide" Target="slides/slide94.xml"/><Relationship Id="rId101" Type="http://schemas.openxmlformats.org/officeDocument/2006/relationships/slide" Target="slides/slide96.xml"/><Relationship Id="rId122" Type="http://schemas.openxmlformats.org/officeDocument/2006/relationships/slide" Target="slides/slide117.xml"/><Relationship Id="rId130" Type="http://schemas.openxmlformats.org/officeDocument/2006/relationships/slide" Target="slides/slide125.xml"/><Relationship Id="rId135" Type="http://schemas.openxmlformats.org/officeDocument/2006/relationships/slide" Target="slides/slide130.xml"/><Relationship Id="rId143" Type="http://schemas.openxmlformats.org/officeDocument/2006/relationships/slide" Target="slides/slide138.xml"/><Relationship Id="rId148" Type="http://schemas.openxmlformats.org/officeDocument/2006/relationships/slide" Target="slides/slide143.xml"/><Relationship Id="rId151" Type="http://schemas.openxmlformats.org/officeDocument/2006/relationships/slide" Target="slides/slide146.xml"/><Relationship Id="rId156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109" Type="http://schemas.openxmlformats.org/officeDocument/2006/relationships/slide" Target="slides/slide10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slide" Target="slides/slide92.xml"/><Relationship Id="rId104" Type="http://schemas.openxmlformats.org/officeDocument/2006/relationships/slide" Target="slides/slide99.xml"/><Relationship Id="rId120" Type="http://schemas.openxmlformats.org/officeDocument/2006/relationships/slide" Target="slides/slide115.xml"/><Relationship Id="rId125" Type="http://schemas.openxmlformats.org/officeDocument/2006/relationships/slide" Target="slides/slide120.xml"/><Relationship Id="rId141" Type="http://schemas.openxmlformats.org/officeDocument/2006/relationships/slide" Target="slides/slide136.xml"/><Relationship Id="rId146" Type="http://schemas.openxmlformats.org/officeDocument/2006/relationships/slide" Target="slides/slide141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110" Type="http://schemas.openxmlformats.org/officeDocument/2006/relationships/slide" Target="slides/slide105.xml"/><Relationship Id="rId115" Type="http://schemas.openxmlformats.org/officeDocument/2006/relationships/slide" Target="slides/slide110.xml"/><Relationship Id="rId131" Type="http://schemas.openxmlformats.org/officeDocument/2006/relationships/slide" Target="slides/slide126.xml"/><Relationship Id="rId136" Type="http://schemas.openxmlformats.org/officeDocument/2006/relationships/slide" Target="slides/slide131.xml"/><Relationship Id="rId157" Type="http://schemas.openxmlformats.org/officeDocument/2006/relationships/commentAuthors" Target="commentAuthors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52" Type="http://schemas.openxmlformats.org/officeDocument/2006/relationships/slide" Target="slides/slide147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Relationship Id="rId100" Type="http://schemas.openxmlformats.org/officeDocument/2006/relationships/slide" Target="slides/slide95.xml"/><Relationship Id="rId105" Type="http://schemas.openxmlformats.org/officeDocument/2006/relationships/slide" Target="slides/slide100.xml"/><Relationship Id="rId126" Type="http://schemas.openxmlformats.org/officeDocument/2006/relationships/slide" Target="slides/slide121.xml"/><Relationship Id="rId147" Type="http://schemas.openxmlformats.org/officeDocument/2006/relationships/slide" Target="slides/slide142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93" Type="http://schemas.openxmlformats.org/officeDocument/2006/relationships/slide" Target="slides/slide88.xml"/><Relationship Id="rId98" Type="http://schemas.openxmlformats.org/officeDocument/2006/relationships/slide" Target="slides/slide93.xml"/><Relationship Id="rId121" Type="http://schemas.openxmlformats.org/officeDocument/2006/relationships/slide" Target="slides/slide116.xml"/><Relationship Id="rId142" Type="http://schemas.openxmlformats.org/officeDocument/2006/relationships/slide" Target="slides/slide137.xml"/><Relationship Id="rId3" Type="http://schemas.openxmlformats.org/officeDocument/2006/relationships/customXml" Target="../customXml/item3.xml"/><Relationship Id="rId25" Type="http://schemas.openxmlformats.org/officeDocument/2006/relationships/slide" Target="slides/slide20.xml"/><Relationship Id="rId46" Type="http://schemas.openxmlformats.org/officeDocument/2006/relationships/slide" Target="slides/slide41.xml"/><Relationship Id="rId67" Type="http://schemas.openxmlformats.org/officeDocument/2006/relationships/slide" Target="slides/slide62.xml"/><Relationship Id="rId116" Type="http://schemas.openxmlformats.org/officeDocument/2006/relationships/slide" Target="slides/slide111.xml"/><Relationship Id="rId137" Type="http://schemas.openxmlformats.org/officeDocument/2006/relationships/slide" Target="slides/slide132.xml"/><Relationship Id="rId158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31.05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31.05.201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5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7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43707" y="458140"/>
            <a:ext cx="6692104" cy="221599"/>
          </a:xfrm>
        </p:spPr>
        <p:txBody>
          <a:bodyPr/>
          <a:lstStyle>
            <a:lvl1pPr>
              <a:defRPr sz="2800" baseline="0"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9" name="think-cell Folie" r:id="rId12" imgW="305" imgH="303" progId="TCLayout.ActiveDocument.1">
                  <p:embed/>
                </p:oleObj>
              </mc:Choice>
              <mc:Fallback>
                <p:oleObj name="think-cell Folie" r:id="rId12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37090" y="4922468"/>
            <a:ext cx="52899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en-GB" sz="800" dirty="0" smtClean="0">
                <a:solidFill>
                  <a:srgbClr val="C8C8C8"/>
                </a:solidFill>
              </a:rPr>
              <a:t>2015-12-10</a:t>
            </a:r>
            <a:endParaRPr lang="de-DE" sz="800" dirty="0" smtClean="0">
              <a:solidFill>
                <a:srgbClr val="C8C8C8"/>
              </a:solidFill>
            </a:endParaRP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4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4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4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4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emf"/><Relationship Id="rId1" Type="http://schemas.openxmlformats.org/officeDocument/2006/relationships/slideLayout" Target="../slideLayouts/slideLayout4.xml"/></Relationships>
</file>

<file path=ppt/slides/_rels/slide1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4.xml"/></Relationships>
</file>

<file path=ppt/slides/_rels/slide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4.xml"/></Relationships>
</file>

<file path=ppt/slides/_rels/slide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4.xml"/></Relationships>
</file>

<file path=ppt/slides/_rels/slide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4.xml"/></Relationships>
</file>

<file path=ppt/slides/_rels/slide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4.xml"/></Relationships>
</file>

<file path=ppt/slides/_rels/slide1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4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4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4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hyperlink" Target="mailto:spark.HashPartitioner@5147788d" TargetMode="External"/><Relationship Id="rId1" Type="http://schemas.openxmlformats.org/officeDocument/2006/relationships/slideLayout" Target="../slideLayouts/slideLayout4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4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4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4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4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4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4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4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4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4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4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4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4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4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4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emf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265737" cy="1205458"/>
          </a:xfrm>
        </p:spPr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6" name="Rounded Rectangle 5"/>
          <p:cNvSpPr/>
          <p:nvPr/>
        </p:nvSpPr>
        <p:spPr>
          <a:xfrm>
            <a:off x="5777071" y="2929583"/>
            <a:ext cx="2493330" cy="1232898"/>
          </a:xfrm>
          <a:prstGeom prst="roundRect">
            <a:avLst/>
          </a:prstGeom>
          <a:blipFill dpi="0" rotWithShape="1">
            <a:blip r:embed="rId2">
              <a:alphaModFix amt="78000"/>
            </a:blip>
            <a:srcRect/>
            <a:tile tx="0" ty="0" sx="100000" sy="100000" flip="none" algn="ctr"/>
          </a:blip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955800" y="3306619"/>
            <a:ext cx="1910459" cy="40011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7100" defTabSz="685800">
              <a:spcBef>
                <a:spcPts val="600"/>
              </a:spcBef>
            </a:pPr>
            <a:r>
              <a:rPr lang="es-ES" sz="2600" dirty="0">
                <a:solidFill>
                  <a:schemeClr val="bg1"/>
                </a:solidFill>
              </a:rPr>
              <a:t>Ángel J. Rey</a:t>
            </a:r>
            <a:endParaRPr lang="en-US" sz="2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18008"/>
          </a:xfrm>
        </p:spPr>
        <p:txBody>
          <a:bodyPr/>
          <a:lstStyle/>
          <a:p>
            <a:r>
              <a:rPr lang="en-US" sz="2800" noProof="0" dirty="0" smtClean="0"/>
              <a:t>What is Apache Spark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55" name="Inhaltsplatzhalter 5"/>
          <p:cNvSpPr>
            <a:spLocks noGrp="1"/>
          </p:cNvSpPr>
          <p:nvPr>
            <p:ph idx="1"/>
          </p:nvPr>
        </p:nvSpPr>
        <p:spPr>
          <a:xfrm>
            <a:off x="438150" y="910756"/>
            <a:ext cx="8598274" cy="3721756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altLang="de-DE" sz="3200" noProof="0" dirty="0" smtClean="0"/>
              <a:t>Spark is designed to be highly accessible, offering simple API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sz="2800" noProof="0" dirty="0" smtClean="0"/>
              <a:t>Python, Java, Scala, R, SQL</a:t>
            </a:r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en-US" altLang="de-DE" sz="2800" noProof="0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sz="3000" noProof="0" dirty="0" smtClean="0"/>
              <a:t>Spark can run in Hadoop clusters and access any Hadoop data source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7356536" y="3831158"/>
            <a:ext cx="1703072" cy="882042"/>
          </a:xfrm>
          <a:prstGeom prst="roundRect">
            <a:avLst/>
          </a:prstGeom>
          <a:blipFill dpi="0" rotWithShape="1">
            <a:blip r:embed="rId3"/>
            <a:srcRect/>
            <a:tile tx="0" ty="0" sx="100000" sy="100000" flip="none" algn="ctr"/>
          </a:blip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951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park web UI (2/2)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899" y="832205"/>
            <a:ext cx="7202699" cy="39567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65608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rivers and Executor logs in clust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1119187"/>
            <a:ext cx="8243888" cy="3251107"/>
          </a:xfrm>
        </p:spPr>
        <p:txBody>
          <a:bodyPr>
            <a:noAutofit/>
          </a:bodyPr>
          <a:lstStyle/>
          <a:p>
            <a:r>
              <a:rPr lang="en-US" sz="2800" b="1" dirty="0" smtClean="0"/>
              <a:t>YARN</a:t>
            </a:r>
          </a:p>
          <a:p>
            <a:pPr lvl="1"/>
            <a:r>
              <a:rPr lang="en-US" sz="2400" dirty="0" smtClean="0"/>
              <a:t>yarn logs -</a:t>
            </a:r>
            <a:r>
              <a:rPr lang="en-US" sz="2400" dirty="0" err="1" smtClean="0"/>
              <a:t>applicationId</a:t>
            </a:r>
            <a:r>
              <a:rPr lang="en-US" sz="2400" dirty="0" smtClean="0"/>
              <a:t> </a:t>
            </a:r>
            <a:r>
              <a:rPr lang="en-US" sz="2400" i="1" dirty="0" smtClean="0"/>
              <a:t>&lt;app ID&gt;</a:t>
            </a:r>
            <a:r>
              <a:rPr lang="en-US" sz="2400" dirty="0" smtClean="0"/>
              <a:t> when app has finished (logs are </a:t>
            </a:r>
            <a:r>
              <a:rPr lang="en-US" sz="2400" dirty="0" err="1" smtClean="0"/>
              <a:t>agregated</a:t>
            </a:r>
            <a:r>
              <a:rPr lang="en-US" sz="2400" dirty="0" smtClean="0"/>
              <a:t>)</a:t>
            </a:r>
          </a:p>
          <a:p>
            <a:r>
              <a:rPr lang="en-US" sz="2800" b="1" dirty="0" smtClean="0"/>
              <a:t>In a Running Application</a:t>
            </a:r>
            <a:r>
              <a:rPr lang="en-US" sz="2800" dirty="0" smtClean="0"/>
              <a:t>: </a:t>
            </a:r>
          </a:p>
          <a:p>
            <a:pPr lvl="1"/>
            <a:r>
              <a:rPr lang="en-US" sz="2400" dirty="0" smtClean="0"/>
              <a:t>click through the </a:t>
            </a:r>
            <a:r>
              <a:rPr lang="en-US" sz="2400" dirty="0" err="1" smtClean="0"/>
              <a:t>ResourceManager</a:t>
            </a:r>
            <a:r>
              <a:rPr lang="en-US" sz="2400" dirty="0" smtClean="0"/>
              <a:t> UI to the Nodes page, then browse to a particular node, and from there, a particular container</a:t>
            </a:r>
          </a:p>
          <a:p>
            <a:pPr lvl="1"/>
            <a:endParaRPr lang="en-US" sz="24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240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dirty="0" smtClean="0"/>
              <a:t>Performance Tun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56970"/>
            <a:ext cx="4114846" cy="3741924"/>
          </a:xfrm>
        </p:spPr>
        <p:txBody>
          <a:bodyPr>
            <a:noAutofit/>
          </a:bodyPr>
          <a:lstStyle/>
          <a:p>
            <a:r>
              <a:rPr lang="en-US" sz="2400" dirty="0" smtClean="0"/>
              <a:t>Level of Parallelism</a:t>
            </a:r>
          </a:p>
          <a:p>
            <a:pPr lvl="1"/>
            <a:r>
              <a:rPr lang="en-US" sz="2000" dirty="0" smtClean="0"/>
              <a:t>Too little parallelism</a:t>
            </a:r>
          </a:p>
          <a:p>
            <a:pPr lvl="2"/>
            <a:r>
              <a:rPr lang="en-US" sz="1800" dirty="0" smtClean="0">
                <a:sym typeface="Wingdings" panose="05000000000000000000" pitchFamily="2" charset="2"/>
              </a:rPr>
              <a:t>Idle resources</a:t>
            </a:r>
          </a:p>
          <a:p>
            <a:pPr lvl="2"/>
            <a:r>
              <a:rPr lang="en-US" sz="1800" dirty="0" smtClean="0">
                <a:sym typeface="Wingdings" panose="05000000000000000000" pitchFamily="2" charset="2"/>
              </a:rPr>
              <a:t>Tasks to big. If more tasks than processors, waiting for the last task in the queue can be a problem</a:t>
            </a:r>
          </a:p>
          <a:p>
            <a:pPr lvl="2"/>
            <a:r>
              <a:rPr lang="en-US" sz="1800" dirty="0" smtClean="0">
                <a:sym typeface="Wingdings" panose="05000000000000000000" pitchFamily="2" charset="2"/>
              </a:rPr>
              <a:t>Be aware of memory/disk space for shuffle</a:t>
            </a:r>
          </a:p>
          <a:p>
            <a:pPr lvl="1"/>
            <a:r>
              <a:rPr lang="en-US" sz="2000" dirty="0" smtClean="0">
                <a:sym typeface="Wingdings" panose="05000000000000000000" pitchFamily="2" charset="2"/>
              </a:rPr>
              <a:t>Too much parallelism</a:t>
            </a:r>
          </a:p>
          <a:p>
            <a:pPr lvl="2"/>
            <a:r>
              <a:rPr lang="en-US" sz="1800" dirty="0">
                <a:sym typeface="Wingdings" panose="05000000000000000000" pitchFamily="2" charset="2"/>
              </a:rPr>
              <a:t>O</a:t>
            </a:r>
            <a:r>
              <a:rPr lang="en-US" sz="1800" dirty="0" smtClean="0">
                <a:sym typeface="Wingdings" panose="05000000000000000000" pitchFamily="2" charset="2"/>
              </a:rPr>
              <a:t>verhead for each partition computation</a:t>
            </a:r>
          </a:p>
          <a:p>
            <a:pPr lvl="2"/>
            <a:r>
              <a:rPr lang="en-US" sz="1800" dirty="0" smtClean="0">
                <a:sym typeface="Wingdings" panose="05000000000000000000" pitchFamily="2" charset="2"/>
              </a:rPr>
              <a:t>Network traffic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5600701" y="968189"/>
            <a:ext cx="860612" cy="316006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5600701" y="1399616"/>
            <a:ext cx="860612" cy="316006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5600701" y="1813112"/>
            <a:ext cx="860612" cy="316006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5600701" y="2243418"/>
            <a:ext cx="860612" cy="316006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D1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553201" y="2243418"/>
            <a:ext cx="860612" cy="316006"/>
          </a:xfrm>
          <a:prstGeom prst="roundRect">
            <a:avLst/>
          </a:prstGeom>
          <a:solidFill>
            <a:schemeClr val="tx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D2</a:t>
            </a:r>
          </a:p>
        </p:txBody>
      </p:sp>
      <p:sp>
        <p:nvSpPr>
          <p:cNvPr id="11" name="Rounded Rectangular Callout 10"/>
          <p:cNvSpPr/>
          <p:nvPr/>
        </p:nvSpPr>
        <p:spPr>
          <a:xfrm>
            <a:off x="7133663" y="933449"/>
            <a:ext cx="820271" cy="350746"/>
          </a:xfrm>
          <a:prstGeom prst="wedgeRoundRectCallout">
            <a:avLst>
              <a:gd name="adj1" fmla="val -108226"/>
              <a:gd name="adj2" fmla="val 124823"/>
              <a:gd name="adj3" fmla="val 16667"/>
            </a:avLst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Done</a:t>
            </a:r>
          </a:p>
        </p:txBody>
      </p:sp>
      <p:sp>
        <p:nvSpPr>
          <p:cNvPr id="12" name="Rounded Rectangular Callout 11"/>
          <p:cNvSpPr/>
          <p:nvPr/>
        </p:nvSpPr>
        <p:spPr>
          <a:xfrm>
            <a:off x="6824381" y="3009901"/>
            <a:ext cx="1539689" cy="431427"/>
          </a:xfrm>
          <a:prstGeom prst="wedgeRoundRectCallout">
            <a:avLst>
              <a:gd name="adj1" fmla="val -43103"/>
              <a:gd name="adj2" fmla="val -130746"/>
              <a:gd name="adj3" fmla="val 16667"/>
            </a:avLst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Waiting for this to finish</a:t>
            </a:r>
          </a:p>
        </p:txBody>
      </p:sp>
    </p:spTree>
    <p:extLst>
      <p:ext uri="{BB962C8B-B14F-4D97-AF65-F5344CB8AC3E}">
        <p14:creationId xmlns:p14="http://schemas.microsoft.com/office/powerpoint/2010/main" val="2844564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dirty="0" smtClean="0"/>
              <a:t>Performance Tun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8771" y="870416"/>
            <a:ext cx="3812242" cy="3782265"/>
          </a:xfrm>
        </p:spPr>
        <p:txBody>
          <a:bodyPr>
            <a:noAutofit/>
          </a:bodyPr>
          <a:lstStyle/>
          <a:p>
            <a:r>
              <a:rPr lang="en-US" sz="2800" dirty="0" smtClean="0">
                <a:sym typeface="Wingdings" panose="05000000000000000000" pitchFamily="2" charset="2"/>
              </a:rPr>
              <a:t>What to tune</a:t>
            </a:r>
          </a:p>
          <a:p>
            <a:pPr lvl="1"/>
            <a:r>
              <a:rPr lang="en-US" sz="2000" dirty="0" smtClean="0">
                <a:sym typeface="Wingdings" panose="05000000000000000000" pitchFamily="2" charset="2"/>
              </a:rPr>
              <a:t>In operations that </a:t>
            </a:r>
            <a:r>
              <a:rPr lang="en-US" sz="2000" b="1" dirty="0" smtClean="0">
                <a:sym typeface="Wingdings" panose="05000000000000000000" pitchFamily="2" charset="2"/>
              </a:rPr>
              <a:t>shuffle data </a:t>
            </a:r>
            <a:r>
              <a:rPr lang="en-US" sz="2000" dirty="0" smtClean="0">
                <a:sym typeface="Wingdings" panose="05000000000000000000" pitchFamily="2" charset="2"/>
              </a:rPr>
              <a:t>you can set the degree of parallelism via parameter</a:t>
            </a:r>
          </a:p>
          <a:p>
            <a:pPr marL="179388" lvl="1" indent="0">
              <a:buNone/>
            </a:pPr>
            <a:endParaRPr lang="en-US" sz="2000" dirty="0" smtClean="0">
              <a:sym typeface="Wingdings" panose="05000000000000000000" pitchFamily="2" charset="2"/>
            </a:endParaRPr>
          </a:p>
          <a:p>
            <a:pPr lvl="1"/>
            <a:r>
              <a:rPr lang="en-US" sz="2000" dirty="0" smtClean="0">
                <a:sym typeface="Wingdings" panose="05000000000000000000" pitchFamily="2" charset="2"/>
              </a:rPr>
              <a:t>A </a:t>
            </a:r>
            <a:r>
              <a:rPr lang="en-US" sz="2000" b="1" dirty="0" smtClean="0">
                <a:sym typeface="Wingdings" panose="05000000000000000000" pitchFamily="2" charset="2"/>
              </a:rPr>
              <a:t>RDD can be distributed </a:t>
            </a:r>
            <a:r>
              <a:rPr lang="en-US" sz="2000" dirty="0" smtClean="0">
                <a:sym typeface="Wingdings" panose="05000000000000000000" pitchFamily="2" charset="2"/>
              </a:rPr>
              <a:t>to have more or fewer partitions</a:t>
            </a:r>
          </a:p>
          <a:p>
            <a:pPr lvl="2"/>
            <a:r>
              <a:rPr lang="en-US" sz="1800" b="1" dirty="0" smtClean="0">
                <a:sym typeface="Wingdings" panose="05000000000000000000" pitchFamily="2" charset="2"/>
              </a:rPr>
              <a:t>repartition() </a:t>
            </a:r>
            <a:r>
              <a:rPr lang="en-US" sz="1800" dirty="0" smtClean="0">
                <a:sym typeface="Wingdings" panose="05000000000000000000" pitchFamily="2" charset="2"/>
              </a:rPr>
              <a:t>shuffle a RDD into desired number of partitions</a:t>
            </a:r>
          </a:p>
          <a:p>
            <a:pPr lvl="2"/>
            <a:r>
              <a:rPr lang="en-US" sz="1800" b="1" dirty="0" smtClean="0">
                <a:sym typeface="Wingdings" panose="05000000000000000000" pitchFamily="2" charset="2"/>
              </a:rPr>
              <a:t>coalesce() </a:t>
            </a:r>
            <a:r>
              <a:rPr lang="en-US" sz="1800" dirty="0" smtClean="0">
                <a:sym typeface="Wingdings" panose="05000000000000000000" pitchFamily="2" charset="2"/>
              </a:rPr>
              <a:t>to shrinking partitions and avoid shuffling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4134971" y="1148819"/>
            <a:ext cx="4874558" cy="323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3">
              <a:buNone/>
            </a:pPr>
            <a:r>
              <a:rPr lang="en-US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# Wildcard input that may match thousands of files</a:t>
            </a:r>
          </a:p>
          <a:p>
            <a:pPr marL="0" lvl="3">
              <a:buNone/>
            </a:pP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&gt;&gt; input = 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.textFile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"s3n://log-files/2014/*.log")</a:t>
            </a:r>
          </a:p>
          <a:p>
            <a:pPr marL="0" lvl="3">
              <a:buNone/>
            </a:pP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&gt;&gt; 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put.getNumPartitions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0" lvl="3">
              <a:buNone/>
            </a:pP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35154</a:t>
            </a:r>
          </a:p>
          <a:p>
            <a:pPr marL="0" lvl="3">
              <a:buNone/>
            </a:pPr>
            <a:r>
              <a:rPr lang="en-US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# A filter that excludes almost all data</a:t>
            </a:r>
          </a:p>
          <a:p>
            <a:pPr marL="0" lvl="3">
              <a:buNone/>
            </a:pP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&gt;&gt; lines = 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put.filter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lambda 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line: </a:t>
            </a: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					</a:t>
            </a:r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e.startswith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"2014-10-17"))</a:t>
            </a:r>
          </a:p>
          <a:p>
            <a:pPr marL="0" lvl="3">
              <a:buNone/>
            </a:pP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&gt;&gt; 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nes.getNumPartitions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0" lvl="3">
              <a:buNone/>
            </a:pP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35154</a:t>
            </a:r>
          </a:p>
          <a:p>
            <a:pPr marL="0" lvl="3">
              <a:buNone/>
            </a:pPr>
            <a:r>
              <a:rPr lang="en-US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# We coalesce the lines RDD before caching</a:t>
            </a:r>
          </a:p>
          <a:p>
            <a:pPr marL="0" lvl="3">
              <a:buNone/>
            </a:pP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&gt;&gt; lines = 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nes.coalesce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5).cache()</a:t>
            </a:r>
          </a:p>
          <a:p>
            <a:pPr marL="0" lvl="3">
              <a:buNone/>
            </a:pP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&gt;&gt; 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nes.getNumPartitions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0" lvl="3">
              <a:buNone/>
            </a:pP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</a:p>
          <a:p>
            <a:pPr marL="0" lvl="3">
              <a:buNone/>
            </a:pPr>
            <a:r>
              <a:rPr lang="en-US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# Subsequent analysis can operate on the coalesced RDD...</a:t>
            </a:r>
          </a:p>
          <a:p>
            <a:pPr marL="0" lvl="3">
              <a:buNone/>
            </a:pP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&gt;&gt; 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nes.count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</p:txBody>
      </p:sp>
    </p:spTree>
    <p:extLst>
      <p:ext uri="{BB962C8B-B14F-4D97-AF65-F5344CB8AC3E}">
        <p14:creationId xmlns:p14="http://schemas.microsoft.com/office/powerpoint/2010/main" val="980843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rializ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1119188"/>
            <a:ext cx="8243888" cy="2861142"/>
          </a:xfrm>
        </p:spPr>
        <p:txBody>
          <a:bodyPr>
            <a:normAutofit/>
          </a:bodyPr>
          <a:lstStyle/>
          <a:p>
            <a:r>
              <a:rPr lang="en-US" sz="2400" dirty="0" smtClean="0"/>
              <a:t>Use </a:t>
            </a:r>
            <a:r>
              <a:rPr lang="en-US" sz="2400" dirty="0" err="1" smtClean="0"/>
              <a:t>Kryo</a:t>
            </a:r>
            <a:r>
              <a:rPr lang="en-US" sz="2400" dirty="0" smtClean="0"/>
              <a:t> (faster than the default java serialization)</a:t>
            </a:r>
          </a:p>
          <a:p>
            <a:pPr marL="0" indent="0">
              <a:buNone/>
            </a:pPr>
            <a:endParaRPr lang="en-US" sz="2400" dirty="0" smtClean="0"/>
          </a:p>
          <a:p>
            <a:pPr marL="400050" lvl="1" indent="0">
              <a:buNone/>
            </a:pPr>
            <a:r>
              <a:rPr lang="en-US" sz="16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nf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new </a:t>
            </a:r>
            <a:r>
              <a:rPr lang="en-US" sz="16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parkConf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400050" lvl="1" indent="0">
              <a:buNone/>
            </a:pP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nf.set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park.serializer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, "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org.apache.spark.serializer.KryoSerializer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)</a:t>
            </a:r>
          </a:p>
          <a:p>
            <a:pPr marL="400050" lvl="1" indent="0">
              <a:buNone/>
            </a:pPr>
            <a:r>
              <a:rPr lang="en-US" sz="16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Be strict about class registration</a:t>
            </a:r>
          </a:p>
          <a:p>
            <a:pPr marL="400050" lvl="1" indent="0">
              <a:buNone/>
            </a:pP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nf.set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park.kryo.registrationRequired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, "true")</a:t>
            </a:r>
          </a:p>
          <a:p>
            <a:pPr marL="400050" lvl="1" indent="0">
              <a:buNone/>
            </a:pP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nf.registerKryoClasses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Array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lassOf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6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Class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,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lassOf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6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OtherClass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))</a:t>
            </a: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713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dirty="0" smtClean="0"/>
              <a:t>Exercis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1119187"/>
            <a:ext cx="8243888" cy="447395"/>
          </a:xfrm>
        </p:spPr>
        <p:txBody>
          <a:bodyPr>
            <a:normAutofit/>
          </a:bodyPr>
          <a:lstStyle/>
          <a:p>
            <a:r>
              <a:rPr lang="en-US" sz="2400" b="1" dirty="0" smtClean="0"/>
              <a:t>Exercise </a:t>
            </a:r>
            <a:r>
              <a:rPr lang="en-US" sz="2400" b="1" dirty="0"/>
              <a:t>9</a:t>
            </a:r>
            <a:r>
              <a:rPr lang="en-US" sz="2400" b="1" dirty="0" smtClean="0"/>
              <a:t>: Viewing Stages in the Spark Application UI</a:t>
            </a:r>
          </a:p>
          <a:p>
            <a:endParaRPr lang="en-US" sz="24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963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https://jaceklaskowski.gitbooks.io/mastering-apache-spark/content/images/sparkcontext-broadcast-executors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6491" y="951100"/>
            <a:ext cx="4716592" cy="2911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ared Variab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776" y="951100"/>
            <a:ext cx="3927715" cy="3727496"/>
          </a:xfrm>
        </p:spPr>
        <p:txBody>
          <a:bodyPr>
            <a:noAutofit/>
          </a:bodyPr>
          <a:lstStyle/>
          <a:p>
            <a:r>
              <a:rPr lang="en-US" sz="1800" dirty="0" smtClean="0"/>
              <a:t>Functions (map, filter,…) can use variables defined outside </a:t>
            </a:r>
            <a:r>
              <a:rPr lang="en-US" sz="1800" b="1" dirty="0" smtClean="0"/>
              <a:t>them</a:t>
            </a:r>
            <a:r>
              <a:rPr lang="en-US" sz="1800" dirty="0" smtClean="0"/>
              <a:t> in the driver program</a:t>
            </a:r>
          </a:p>
          <a:p>
            <a:r>
              <a:rPr lang="en-US" sz="1800" dirty="0" smtClean="0"/>
              <a:t>But each task running on the cluster gets a its own copy of each variable</a:t>
            </a:r>
          </a:p>
          <a:p>
            <a:r>
              <a:rPr lang="en-US" sz="1800" b="1" dirty="0" smtClean="0"/>
              <a:t>Updates</a:t>
            </a:r>
            <a:r>
              <a:rPr lang="en-US" sz="1800" dirty="0" smtClean="0"/>
              <a:t> from these copies </a:t>
            </a:r>
            <a:r>
              <a:rPr lang="en-US" sz="1800" b="1" dirty="0" smtClean="0"/>
              <a:t>not return to driver</a:t>
            </a:r>
          </a:p>
          <a:p>
            <a:r>
              <a:rPr lang="en-US" sz="1800" b="1" dirty="0" smtClean="0"/>
              <a:t>Accumulators &amp; Broadcast </a:t>
            </a:r>
            <a:r>
              <a:rPr lang="en-US" sz="1800" dirty="0" smtClean="0"/>
              <a:t>variables relax this restriction for aggregation and broadcasts</a:t>
            </a:r>
            <a:endParaRPr lang="en-US" sz="18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1895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dirty="0" smtClean="0"/>
              <a:t>Shared variables – Accumulato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83864"/>
            <a:ext cx="6158799" cy="3955264"/>
          </a:xfrm>
        </p:spPr>
        <p:txBody>
          <a:bodyPr>
            <a:normAutofit fontScale="85000" lnSpcReduction="20000"/>
          </a:bodyPr>
          <a:lstStyle/>
          <a:p>
            <a:r>
              <a:rPr lang="en-US" sz="2200" dirty="0" smtClean="0"/>
              <a:t>Aggregation values from </a:t>
            </a:r>
            <a:r>
              <a:rPr lang="en-US" sz="2200" b="1" dirty="0" smtClean="0"/>
              <a:t>workers to the driver</a:t>
            </a:r>
          </a:p>
          <a:p>
            <a:r>
              <a:rPr lang="en-US" sz="2200" dirty="0" smtClean="0"/>
              <a:t>For example count some kind of events during job execution</a:t>
            </a:r>
          </a:p>
          <a:p>
            <a:r>
              <a:rPr lang="en-US" sz="2200" dirty="0" smtClean="0"/>
              <a:t>Accumulator of empty line counts in Scala:</a:t>
            </a:r>
          </a:p>
          <a:p>
            <a:pPr marL="0" indent="0">
              <a:buNone/>
            </a:pPr>
            <a:endParaRPr lang="en-US" sz="2200" dirty="0" smtClean="0"/>
          </a:p>
          <a:p>
            <a:pPr marL="0" lvl="1" indent="0">
              <a:buNone/>
            </a:pPr>
            <a:r>
              <a:rPr lang="en-US" sz="16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file 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textFile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file.txt")</a:t>
            </a:r>
          </a:p>
          <a:p>
            <a:pPr marL="0" lvl="1" indent="0">
              <a:buNone/>
            </a:pPr>
            <a:endParaRPr lang="en-US" sz="16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1" indent="0">
              <a:buNone/>
            </a:pPr>
            <a:r>
              <a:rPr lang="en-US" sz="1600" i="1" dirty="0">
                <a:latin typeface="Courier New" panose="02070309020205020404" pitchFamily="49" charset="0"/>
                <a:cs typeface="Courier New" panose="02070309020205020404" pitchFamily="49" charset="0"/>
              </a:rPr>
              <a:t>// Create an Accumulator[</a:t>
            </a:r>
            <a:r>
              <a:rPr lang="en-US" sz="1600" i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i="1" dirty="0">
                <a:latin typeface="Courier New" panose="02070309020205020404" pitchFamily="49" charset="0"/>
                <a:cs typeface="Courier New" panose="02070309020205020404" pitchFamily="49" charset="0"/>
              </a:rPr>
              <a:t>] initialized to </a:t>
            </a:r>
            <a:r>
              <a:rPr lang="en-US" sz="16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endParaRPr lang="en-US" sz="16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1" indent="0">
              <a:buNone/>
            </a:pPr>
            <a:r>
              <a:rPr lang="en-US" sz="16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lankLines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6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accumulator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0)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pPr marL="0" lvl="1" indent="0">
              <a:buNone/>
            </a:pPr>
            <a:r>
              <a:rPr lang="en-US" sz="16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allSigns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ile.flatMap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line 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 marL="0" lvl="1" indent="0">
              <a:buNone/>
            </a:pP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if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line == "") {</a:t>
            </a:r>
          </a:p>
          <a:p>
            <a:pPr marL="0" lvl="1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	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en-US" sz="1600" i="1" dirty="0">
                <a:latin typeface="Courier New" panose="02070309020205020404" pitchFamily="49" charset="0"/>
                <a:cs typeface="Courier New" panose="02070309020205020404" pitchFamily="49" charset="0"/>
              </a:rPr>
              <a:t>Add to the accumulator</a:t>
            </a:r>
            <a:endParaRPr lang="en-US" sz="16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1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 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lankLines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+= 1 </a:t>
            </a:r>
            <a:endParaRPr lang="en-US" sz="1600" i="1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1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 marL="0" lvl="1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e.split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 ")</a:t>
            </a:r>
          </a:p>
          <a:p>
            <a:pPr marL="0" lvl="1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)</a:t>
            </a:r>
          </a:p>
          <a:p>
            <a:pPr marL="0" lvl="1" indent="0">
              <a:buNone/>
            </a:pP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allSigns.saveAsTextFile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output.txt")</a:t>
            </a:r>
          </a:p>
          <a:p>
            <a:pPr marL="0" lvl="1" indent="0">
              <a:buNone/>
            </a:pP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Blank lines: " + </a:t>
            </a:r>
            <a:r>
              <a:rPr lang="en-US" sz="16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lankLines.value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109882" y="1865437"/>
            <a:ext cx="396211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we will see the </a:t>
            </a:r>
            <a:r>
              <a:rPr lang="en-GB" b="1" dirty="0"/>
              <a:t>right count </a:t>
            </a:r>
            <a:r>
              <a:rPr lang="en-GB" dirty="0"/>
              <a:t>only </a:t>
            </a:r>
            <a:r>
              <a:rPr lang="en-GB" b="1" i="1" dirty="0"/>
              <a:t>after</a:t>
            </a:r>
            <a:r>
              <a:rPr lang="en-GB" i="1" dirty="0"/>
              <a:t> </a:t>
            </a:r>
            <a:r>
              <a:rPr lang="en-GB" dirty="0" smtClean="0"/>
              <a:t>we run </a:t>
            </a:r>
            <a:r>
              <a:rPr lang="en-GB" dirty="0"/>
              <a:t>the </a:t>
            </a:r>
            <a:r>
              <a:rPr lang="en-GB" dirty="0" err="1"/>
              <a:t>saveAsTextFile</a:t>
            </a:r>
            <a:r>
              <a:rPr lang="en-GB" dirty="0"/>
              <a:t>() action, because the </a:t>
            </a:r>
            <a:r>
              <a:rPr lang="en-GB" dirty="0" smtClean="0"/>
              <a:t>transformation </a:t>
            </a:r>
            <a:r>
              <a:rPr lang="en-GB" dirty="0"/>
              <a:t>above it, map(), is </a:t>
            </a:r>
            <a:r>
              <a:rPr lang="en-GB" dirty="0" smtClean="0"/>
              <a:t>lazy</a:t>
            </a:r>
            <a:endParaRPr lang="es-E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ccumulators are </a:t>
            </a:r>
            <a:r>
              <a:rPr lang="en-GB" b="1" i="1" dirty="0"/>
              <a:t>write-only </a:t>
            </a:r>
            <a:r>
              <a:rPr lang="en-GB" dirty="0"/>
              <a:t>variables. This allows </a:t>
            </a:r>
            <a:r>
              <a:rPr lang="en-GB" dirty="0" smtClean="0"/>
              <a:t>accumulators to </a:t>
            </a:r>
            <a:r>
              <a:rPr lang="en-GB" dirty="0"/>
              <a:t>be implemented efficiently</a:t>
            </a:r>
          </a:p>
        </p:txBody>
      </p:sp>
    </p:spTree>
    <p:extLst>
      <p:ext uri="{BB962C8B-B14F-4D97-AF65-F5344CB8AC3E}">
        <p14:creationId xmlns:p14="http://schemas.microsoft.com/office/powerpoint/2010/main" val="2771139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dirty="0" smtClean="0"/>
              <a:t>Shared variables – Accumulato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3195" y="1089213"/>
            <a:ext cx="8243888" cy="3590363"/>
          </a:xfrm>
        </p:spPr>
        <p:txBody>
          <a:bodyPr>
            <a:normAutofit/>
          </a:bodyPr>
          <a:lstStyle/>
          <a:p>
            <a:r>
              <a:rPr lang="en-US" sz="2000" b="1" dirty="0" smtClean="0"/>
              <a:t>Accumulators and Fault tolerance</a:t>
            </a:r>
          </a:p>
          <a:p>
            <a:pPr marL="0" indent="0">
              <a:buNone/>
            </a:pPr>
            <a:endParaRPr lang="en-US" sz="2000" b="1" dirty="0" smtClean="0"/>
          </a:p>
          <a:p>
            <a:pPr lvl="1"/>
            <a:r>
              <a:rPr lang="en-US" sz="1800" dirty="0" smtClean="0"/>
              <a:t>The same function may run </a:t>
            </a:r>
            <a:r>
              <a:rPr lang="en-US" sz="1800" b="1" dirty="0" smtClean="0"/>
              <a:t>multiple times </a:t>
            </a:r>
            <a:r>
              <a:rPr lang="en-US" sz="1800" dirty="0" smtClean="0"/>
              <a:t>on the same data</a:t>
            </a:r>
          </a:p>
          <a:p>
            <a:pPr lvl="2"/>
            <a:r>
              <a:rPr lang="en-US" sz="1800" dirty="0" smtClean="0"/>
              <a:t>An operation crashes</a:t>
            </a:r>
          </a:p>
          <a:p>
            <a:pPr lvl="2"/>
            <a:r>
              <a:rPr lang="en-US" sz="1800" dirty="0"/>
              <a:t>A</a:t>
            </a:r>
            <a:r>
              <a:rPr lang="en-US" sz="1800" dirty="0" smtClean="0"/>
              <a:t> node is slow and a “speculative” copy of the task is launched on other node</a:t>
            </a:r>
          </a:p>
          <a:p>
            <a:pPr lvl="2"/>
            <a:r>
              <a:rPr lang="en-US" sz="1800" dirty="0" smtClean="0"/>
              <a:t>Rebuild of a cached value that falls out of memory</a:t>
            </a:r>
          </a:p>
          <a:p>
            <a:pPr lvl="1"/>
            <a:r>
              <a:rPr lang="en-US" sz="1800" dirty="0"/>
              <a:t>F</a:t>
            </a:r>
            <a:r>
              <a:rPr lang="en-US" sz="1800" dirty="0" smtClean="0"/>
              <a:t>or </a:t>
            </a:r>
            <a:r>
              <a:rPr lang="en-US" sz="1800" b="1" dirty="0" smtClean="0"/>
              <a:t>accumulators used in actions</a:t>
            </a:r>
            <a:r>
              <a:rPr lang="en-US" sz="1800" dirty="0" smtClean="0"/>
              <a:t>, Spark applies each task’s update to each accumulator </a:t>
            </a:r>
            <a:r>
              <a:rPr lang="en-US" sz="1800" b="1" dirty="0" smtClean="0"/>
              <a:t>only once </a:t>
            </a:r>
            <a:r>
              <a:rPr lang="en-US" sz="1800" dirty="0" smtClean="0"/>
              <a:t>(can be used actions like </a:t>
            </a:r>
            <a:r>
              <a:rPr lang="en-US" sz="1800" dirty="0" err="1" smtClean="0"/>
              <a:t>foreach</a:t>
            </a:r>
            <a:r>
              <a:rPr lang="en-US" sz="1800" dirty="0" smtClean="0"/>
              <a:t>() and is </a:t>
            </a:r>
            <a:r>
              <a:rPr lang="en-US" sz="1800" b="1" dirty="0" smtClean="0"/>
              <a:t>OK</a:t>
            </a:r>
            <a:r>
              <a:rPr lang="en-US" sz="1800" dirty="0" smtClean="0"/>
              <a:t>)</a:t>
            </a:r>
          </a:p>
          <a:p>
            <a:pPr lvl="1"/>
            <a:r>
              <a:rPr lang="en-US" sz="1800" dirty="0" smtClean="0"/>
              <a:t>But for </a:t>
            </a:r>
            <a:r>
              <a:rPr lang="en-US" sz="1800" b="1" dirty="0" smtClean="0"/>
              <a:t>accumulators used in RDD transformations </a:t>
            </a:r>
            <a:r>
              <a:rPr lang="en-US" sz="1800" dirty="0" smtClean="0"/>
              <a:t>instead of actions, this guarantee does not exist (use only for debugging, </a:t>
            </a:r>
            <a:r>
              <a:rPr lang="en-US" sz="1800" b="1" dirty="0" smtClean="0">
                <a:solidFill>
                  <a:srgbClr val="C00000"/>
                </a:solidFill>
              </a:rPr>
              <a:t>NOT OK</a:t>
            </a:r>
            <a:r>
              <a:rPr lang="en-US" sz="1800" dirty="0" smtClean="0"/>
              <a:t>)</a:t>
            </a:r>
            <a:endParaRPr lang="en-US" sz="18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5122" name="Picture 2" descr="https://www.crisiseducation.com/landing/reports/4foot-farm-blueprint/assets/img/warning-stamp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5682" y="784692"/>
            <a:ext cx="3101042" cy="865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0556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hared Variables – Broadcas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6642" y="863693"/>
            <a:ext cx="8599440" cy="3768819"/>
          </a:xfrm>
        </p:spPr>
        <p:txBody>
          <a:bodyPr>
            <a:noAutofit/>
          </a:bodyPr>
          <a:lstStyle/>
          <a:p>
            <a:r>
              <a:rPr lang="en-US" b="1" i="1" dirty="0" smtClean="0"/>
              <a:t>Broadcast variables</a:t>
            </a:r>
            <a:r>
              <a:rPr lang="en-US" dirty="0" smtClean="0"/>
              <a:t>, allow the program to efficiently send a large, </a:t>
            </a:r>
            <a:r>
              <a:rPr lang="en-US" b="1" dirty="0" smtClean="0"/>
              <a:t>read-only</a:t>
            </a:r>
            <a:r>
              <a:rPr lang="en-US" dirty="0" smtClean="0"/>
              <a:t> value to all the worker nodes for use in one or more Spark operations</a:t>
            </a:r>
          </a:p>
          <a:p>
            <a:r>
              <a:rPr lang="en-US" dirty="0" smtClean="0"/>
              <a:t>Like send a large, read-only lookup table to all the nodes</a:t>
            </a:r>
          </a:p>
          <a:p>
            <a:r>
              <a:rPr lang="en-US" dirty="0" smtClean="0"/>
              <a:t>Sparks send </a:t>
            </a:r>
            <a:r>
              <a:rPr lang="en-US" b="1" dirty="0" smtClean="0"/>
              <a:t>all variables in your closures </a:t>
            </a:r>
            <a:r>
              <a:rPr lang="en-US" dirty="0" smtClean="0"/>
              <a:t>to the worker nodes but can be </a:t>
            </a:r>
            <a:r>
              <a:rPr lang="en-US" b="1" dirty="0" smtClean="0"/>
              <a:t>inefficient</a:t>
            </a:r>
            <a:r>
              <a:rPr lang="en-US" dirty="0" smtClean="0"/>
              <a:t>:</a:t>
            </a:r>
          </a:p>
          <a:p>
            <a:pPr lvl="1"/>
            <a:r>
              <a:rPr lang="en-US" sz="1400" dirty="0" smtClean="0"/>
              <a:t>The default task launching mechanism is optimized for small task sizes</a:t>
            </a:r>
          </a:p>
          <a:p>
            <a:pPr lvl="1"/>
            <a:r>
              <a:rPr lang="en-US" sz="1400" dirty="0" smtClean="0"/>
              <a:t>You might, in fact, use the same variable in </a:t>
            </a:r>
            <a:r>
              <a:rPr lang="en-US" sz="1400" i="1" dirty="0" smtClean="0"/>
              <a:t>multiple </a:t>
            </a:r>
            <a:r>
              <a:rPr lang="en-US" sz="1400" dirty="0" smtClean="0"/>
              <a:t>parallel operations, but Spark will </a:t>
            </a:r>
            <a:r>
              <a:rPr lang="en-US" sz="1400" b="1" dirty="0" smtClean="0"/>
              <a:t>send it separately for each operation</a:t>
            </a:r>
          </a:p>
          <a:p>
            <a:r>
              <a:rPr lang="en-US" dirty="0" smtClean="0"/>
              <a:t>Broadcast variables are read-only</a:t>
            </a:r>
          </a:p>
          <a:p>
            <a:r>
              <a:rPr lang="en-US" dirty="0" smtClean="0"/>
              <a:t>Example</a:t>
            </a:r>
          </a:p>
          <a:p>
            <a:pPr marL="400050" lvl="1" indent="0">
              <a:buNone/>
            </a:pP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ignPrefixes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400" b="1" dirty="0" err="1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.broadcas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oadCallSignTabl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</a:p>
          <a:p>
            <a:pPr marL="400050" lvl="1" indent="0">
              <a:buNone/>
            </a:pP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untryContactCounts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ntactCounts.map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sign, count)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 </a:t>
            </a:r>
          </a:p>
          <a:p>
            <a:pPr marL="400050" lvl="1" indent="0">
              <a:buNone/>
            </a:pPr>
            <a:r>
              <a:rPr lang="en-US" sz="14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ountry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ookupInArray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sign, 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ignPrefixes.valu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400050" lvl="1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(country, count)</a:t>
            </a:r>
          </a:p>
          <a:p>
            <a:pPr marL="400050" lvl="1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.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duceByKey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(x, y)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 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x + y)</a:t>
            </a:r>
          </a:p>
          <a:p>
            <a:pPr marL="400050" lvl="1" indent="0">
              <a:buNone/>
            </a:pP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untryContactCounts.saveAsTextFil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outputDi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+ "/countries.txt"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5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45260"/>
          </a:xfrm>
        </p:spPr>
        <p:txBody>
          <a:bodyPr/>
          <a:lstStyle/>
          <a:p>
            <a:r>
              <a:rPr lang="en-US" sz="2800" noProof="0" dirty="0" smtClean="0"/>
              <a:t>Unified Stack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55" name="Inhaltsplatzhalter 5"/>
          <p:cNvSpPr>
            <a:spLocks noGrp="1"/>
          </p:cNvSpPr>
          <p:nvPr>
            <p:ph idx="1"/>
          </p:nvPr>
        </p:nvSpPr>
        <p:spPr>
          <a:xfrm>
            <a:off x="188260" y="815560"/>
            <a:ext cx="3907414" cy="2559643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sz="2400" b="1" noProof="0" dirty="0" smtClean="0"/>
              <a:t>Core</a:t>
            </a:r>
            <a:r>
              <a:rPr lang="en-US" altLang="de-DE" sz="2400" noProof="0" dirty="0" smtClean="0"/>
              <a:t>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sz="2200" noProof="0" dirty="0" smtClean="0"/>
              <a:t>scheduling, distributing and monitoring computational tasks across nodes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sz="2400" b="1" noProof="0" dirty="0" smtClean="0"/>
              <a:t>High-level components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sz="2200" noProof="0" dirty="0" smtClean="0"/>
              <a:t>specialized for various applications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5673" y="936592"/>
            <a:ext cx="4824536" cy="2515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Inhaltsplatzhalter 5"/>
          <p:cNvSpPr txBox="1">
            <a:spLocks/>
          </p:cNvSpPr>
          <p:nvPr/>
        </p:nvSpPr>
        <p:spPr bwMode="gray">
          <a:xfrm>
            <a:off x="166178" y="3465242"/>
            <a:ext cx="8794375" cy="13219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GB" altLang="de-DE" sz="2200" b="1" dirty="0" smtClean="0"/>
              <a:t>SQL: </a:t>
            </a:r>
            <a:r>
              <a:rPr lang="en-GB" altLang="de-DE" sz="2200" dirty="0" smtClean="0"/>
              <a:t>allows querying data via SQL, Hive and Data Frame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GB" altLang="de-DE" sz="2000" b="1" dirty="0" smtClean="0"/>
              <a:t>Stream processing: </a:t>
            </a:r>
            <a:r>
              <a:rPr lang="en-GB" altLang="de-DE" sz="2000" dirty="0" smtClean="0"/>
              <a:t>processing of data live streams (events, logs, …)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GB" altLang="de-DE" sz="2000" b="1" dirty="0" smtClean="0"/>
              <a:t>Machine Learning, graphs: </a:t>
            </a:r>
            <a:r>
              <a:rPr lang="en-GB" altLang="de-DE" sz="2000" dirty="0" smtClean="0"/>
              <a:t>for parallel computation of machine learning algorithms: classification, regression, clustering, </a:t>
            </a:r>
            <a:r>
              <a:rPr lang="en-GB" altLang="de-DE" sz="2000" dirty="0" err="1" smtClean="0"/>
              <a:t>etc</a:t>
            </a:r>
            <a:r>
              <a:rPr lang="en-GB" altLang="de-DE" sz="2000" dirty="0" smtClean="0"/>
              <a:t>…</a:t>
            </a:r>
            <a:endParaRPr lang="en-GB" altLang="de-DE" sz="2000" b="1" dirty="0" smtClean="0"/>
          </a:p>
        </p:txBody>
      </p:sp>
    </p:spTree>
    <p:extLst>
      <p:ext uri="{BB962C8B-B14F-4D97-AF65-F5344CB8AC3E}">
        <p14:creationId xmlns:p14="http://schemas.microsoft.com/office/powerpoint/2010/main" val="4041176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dirty="0" smtClean="0"/>
              <a:t>Exercis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1119187"/>
            <a:ext cx="8243888" cy="2343204"/>
          </a:xfrm>
        </p:spPr>
        <p:txBody>
          <a:bodyPr>
            <a:normAutofit/>
          </a:bodyPr>
          <a:lstStyle/>
          <a:p>
            <a:r>
              <a:rPr lang="en-US" sz="2400" b="1" dirty="0" smtClean="0"/>
              <a:t>Exercise 10: Using Broadcast Variables</a:t>
            </a:r>
          </a:p>
          <a:p>
            <a:r>
              <a:rPr lang="en-US" sz="2400" b="1" dirty="0" smtClean="0"/>
              <a:t>Exercise 11: Using Accumulators</a:t>
            </a:r>
          </a:p>
          <a:p>
            <a:r>
              <a:rPr lang="en-US" sz="2400" b="1"/>
              <a:t>Exercise </a:t>
            </a:r>
            <a:r>
              <a:rPr lang="en-US" sz="2400" b="1" smtClean="0"/>
              <a:t>12: </a:t>
            </a:r>
            <a:r>
              <a:rPr lang="en-US" sz="2400" b="1" dirty="0"/>
              <a:t>Average </a:t>
            </a:r>
            <a:r>
              <a:rPr lang="en-US" sz="2400" b="1" dirty="0" err="1"/>
              <a:t>WordLength</a:t>
            </a:r>
            <a:endParaRPr lang="en-US" sz="2400" b="1" dirty="0"/>
          </a:p>
          <a:p>
            <a:endParaRPr lang="en-US" sz="2400" b="1" dirty="0" smtClean="0"/>
          </a:p>
          <a:p>
            <a:endParaRPr lang="en-US" sz="24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6302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942975" y="1941508"/>
            <a:ext cx="5265737" cy="1231106"/>
          </a:xfrm>
        </p:spPr>
        <p:txBody>
          <a:bodyPr/>
          <a:lstStyle/>
          <a:p>
            <a:r>
              <a:rPr lang="en-US" noProof="0" dirty="0" smtClean="0"/>
              <a:t>4. Spark Architecture Load and Save Dat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83868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dirty="0" smtClean="0"/>
              <a:t>Load and Save Dat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04034"/>
            <a:ext cx="8243888" cy="877701"/>
          </a:xfrm>
        </p:spPr>
        <p:txBody>
          <a:bodyPr>
            <a:noAutofit/>
          </a:bodyPr>
          <a:lstStyle/>
          <a:p>
            <a:r>
              <a:rPr lang="en-US" sz="1800" dirty="0" smtClean="0"/>
              <a:t>Spark can access data used by Hadoop (S3, HDFS, Cassandra </a:t>
            </a:r>
            <a:r>
              <a:rPr lang="en-US" sz="1800" dirty="0" err="1" smtClean="0"/>
              <a:t>Hbase</a:t>
            </a:r>
            <a:r>
              <a:rPr lang="en-US" sz="1800" dirty="0" smtClean="0"/>
              <a:t>, </a:t>
            </a:r>
            <a:r>
              <a:rPr lang="en-US" sz="1800" dirty="0" err="1" smtClean="0"/>
              <a:t>etc</a:t>
            </a:r>
            <a:r>
              <a:rPr lang="en-US" sz="1800" dirty="0" smtClean="0"/>
              <a:t>…) and local filesystem</a:t>
            </a:r>
          </a:p>
          <a:p>
            <a:r>
              <a:rPr lang="en-US" sz="1800" dirty="0" smtClean="0"/>
              <a:t>Common supported file formats</a:t>
            </a:r>
            <a:endParaRPr lang="en-US" sz="18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park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498" y="1851836"/>
            <a:ext cx="8535399" cy="29218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3373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Load and Save </a:t>
            </a:r>
            <a:r>
              <a:rPr lang="en-US" dirty="0" smtClean="0"/>
              <a:t>Data – Text Fi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874065"/>
            <a:ext cx="8612841" cy="3879476"/>
          </a:xfrm>
        </p:spPr>
        <p:txBody>
          <a:bodyPr>
            <a:normAutofit/>
          </a:bodyPr>
          <a:lstStyle/>
          <a:p>
            <a:pPr marL="3175" lvl="1" indent="0">
              <a:buNone/>
            </a:pPr>
            <a:endParaRPr lang="en-US" sz="1600" b="1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3175" lvl="1" indent="0">
              <a:buNone/>
            </a:pPr>
            <a:r>
              <a:rPr lang="en-US" sz="16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nput 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textFile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“/user/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ftbigdata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input-spark/core-site.xml")</a:t>
            </a: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 defTabSz="538163">
              <a:buNone/>
            </a:pPr>
            <a:endParaRPr lang="en-US" sz="1600" dirty="0" smtClean="0">
              <a:cs typeface="ＭＳ Ｐゴシック" charset="0"/>
            </a:endParaRPr>
          </a:p>
          <a:p>
            <a:pPr marL="87313" indent="-87313" defTabSz="538163"/>
            <a:r>
              <a:rPr lang="en-US" sz="1600" b="1" dirty="0" smtClean="0">
                <a:cs typeface="ＭＳ Ｐゴシック" charset="0"/>
              </a:rPr>
              <a:t>Multiples Files </a:t>
            </a:r>
            <a:r>
              <a:rPr lang="en-US" sz="1600" dirty="0" smtClean="0">
                <a:cs typeface="ＭＳ Ｐゴシック" charset="0"/>
              </a:rPr>
              <a:t>(in pair RDD, key name of file)</a:t>
            </a:r>
          </a:p>
          <a:p>
            <a:pPr marL="268288" lvl="1" indent="-87313" defTabSz="538163"/>
            <a:r>
              <a:rPr lang="en-US" sz="1600" dirty="0" smtClean="0"/>
              <a:t>Support directories &amp; wildcards</a:t>
            </a:r>
          </a:p>
          <a:p>
            <a:pPr marL="268288" lvl="1" indent="-87313" defTabSz="538163"/>
            <a:r>
              <a:rPr lang="en-US" sz="1600" dirty="0" smtClean="0"/>
              <a:t>Average value per file (key – filename; value – file contents)</a:t>
            </a:r>
          </a:p>
          <a:p>
            <a:pPr marL="0" indent="0" defTabSz="538163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6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nput 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wholeTextFiles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file:///home/holden/salesFiles")</a:t>
            </a:r>
          </a:p>
          <a:p>
            <a:pPr marL="0" indent="0" defTabSz="538163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6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ult 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put.mapValues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y 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 </a:t>
            </a:r>
          </a:p>
          <a:p>
            <a:pPr marL="0" indent="0" defTabSz="538163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6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ums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y.split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 ").map(x 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x.toDouble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0" indent="0" defTabSz="538163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ums.sum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/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ums.size.toDouble</a:t>
            </a: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 defTabSz="538163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2701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Load and Save Dat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6" y="880782"/>
            <a:ext cx="8296881" cy="4027648"/>
          </a:xfrm>
        </p:spPr>
        <p:txBody>
          <a:bodyPr>
            <a:normAutofit fontScale="47500" lnSpcReduction="20000"/>
          </a:bodyPr>
          <a:lstStyle/>
          <a:p>
            <a:pPr marL="180975" lvl="1"/>
            <a:r>
              <a:rPr lang="en-US" sz="3500" b="1" dirty="0" smtClean="0">
                <a:cs typeface="ＭＳ Ｐゴシック" charset="0"/>
              </a:rPr>
              <a:t>Loading CSV with </a:t>
            </a:r>
            <a:r>
              <a:rPr lang="en-US" sz="3500" b="1" dirty="0" err="1" smtClean="0">
                <a:cs typeface="ＭＳ Ｐゴシック" charset="0"/>
              </a:rPr>
              <a:t>textFile</a:t>
            </a:r>
            <a:r>
              <a:rPr lang="en-US" sz="3500" b="1" dirty="0" smtClean="0">
                <a:cs typeface="ＭＳ Ｐゴシック" charset="0"/>
              </a:rPr>
              <a:t>() in Scala and </a:t>
            </a:r>
            <a:r>
              <a:rPr lang="en-US" sz="3500" b="1" dirty="0" err="1" smtClean="0">
                <a:cs typeface="ＭＳ Ｐゴシック" charset="0"/>
              </a:rPr>
              <a:t>opencsv</a:t>
            </a:r>
            <a:r>
              <a:rPr lang="en-US" sz="3500" b="1" dirty="0" smtClean="0">
                <a:cs typeface="ＭＳ Ｐゴシック" charset="0"/>
              </a:rPr>
              <a:t> Library</a:t>
            </a:r>
          </a:p>
          <a:p>
            <a:pPr marL="0" lvl="1" indent="0">
              <a:buNone/>
            </a:pPr>
            <a:endParaRPr lang="en-US" sz="3500" b="1" dirty="0" smtClean="0">
              <a:cs typeface="ＭＳ Ｐゴシック" charset="0"/>
            </a:endParaRPr>
          </a:p>
          <a:p>
            <a:pPr lvl="1"/>
            <a:r>
              <a:rPr lang="en-US" sz="3400" dirty="0" smtClean="0"/>
              <a:t>No newline inside a field</a:t>
            </a:r>
          </a:p>
          <a:p>
            <a:pPr marL="800100" lvl="2" indent="0">
              <a:buNone/>
            </a:pPr>
            <a:r>
              <a:rPr lang="en-US" sz="3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en-US" sz="3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java.io.StringReader</a:t>
            </a:r>
            <a:endParaRPr lang="en-US" sz="3400" b="1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800100" lvl="2" indent="0">
              <a:buNone/>
            </a:pPr>
            <a:r>
              <a:rPr lang="en-US" sz="3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en-US" sz="3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u.com.bytecode.opencsv.CSVReader</a:t>
            </a:r>
            <a:endParaRPr lang="en-US" sz="3400" b="1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800100" lvl="2" indent="0">
              <a:buNone/>
            </a:pPr>
            <a:r>
              <a:rPr lang="en-US" sz="3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pPr marL="800100" lvl="2" indent="0">
              <a:buNone/>
            </a:pPr>
            <a:r>
              <a:rPr lang="en-US" sz="3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3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3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nput </a:t>
            </a:r>
            <a:r>
              <a:rPr lang="en-US" sz="3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3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textFile</a:t>
            </a:r>
            <a:r>
              <a:rPr lang="en-US" sz="3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3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putFile</a:t>
            </a:r>
            <a:r>
              <a:rPr lang="en-US" sz="3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800100" lvl="2" indent="0">
              <a:buNone/>
            </a:pPr>
            <a:r>
              <a:rPr lang="en-US" sz="3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3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3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ult </a:t>
            </a:r>
            <a:r>
              <a:rPr lang="en-US" sz="3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3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put.map</a:t>
            </a:r>
            <a:r>
              <a:rPr lang="en-US" sz="3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3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line </a:t>
            </a:r>
            <a:r>
              <a:rPr lang="en-US" sz="3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</a:t>
            </a:r>
          </a:p>
          <a:p>
            <a:pPr marL="800100" lvl="2" indent="0">
              <a:buNone/>
            </a:pPr>
            <a:r>
              <a:rPr lang="en-US" sz="3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3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3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3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ader </a:t>
            </a:r>
            <a:r>
              <a:rPr lang="en-US" sz="3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new </a:t>
            </a:r>
            <a:r>
              <a:rPr lang="en-US" sz="3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SVReader</a:t>
            </a:r>
            <a:r>
              <a:rPr lang="en-US" sz="3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3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new </a:t>
            </a:r>
            <a:r>
              <a:rPr lang="en-US" sz="3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ringReader</a:t>
            </a:r>
            <a:r>
              <a:rPr lang="en-US" sz="3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line));</a:t>
            </a:r>
          </a:p>
          <a:p>
            <a:pPr marL="800100" lvl="2" indent="0">
              <a:buNone/>
            </a:pPr>
            <a:r>
              <a:rPr lang="en-US" sz="3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3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ader.readNext</a:t>
            </a:r>
            <a:r>
              <a:rPr lang="en-US" sz="3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</a:p>
          <a:p>
            <a:pPr marL="800100" lvl="2" indent="0">
              <a:buNone/>
            </a:pPr>
            <a:r>
              <a:rPr lang="en-US" sz="34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3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en-US" sz="3400" dirty="0" smtClean="0"/>
              <a:t>New lines inside a field</a:t>
            </a:r>
          </a:p>
          <a:p>
            <a:pPr marL="800100" lvl="2" indent="0">
              <a:buNone/>
            </a:pPr>
            <a:r>
              <a:rPr lang="en-US" sz="3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 class Person</a:t>
            </a:r>
            <a:r>
              <a:rPr lang="en-US" sz="3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name</a:t>
            </a:r>
            <a:r>
              <a:rPr lang="en-US" sz="3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String</a:t>
            </a:r>
            <a:r>
              <a:rPr lang="en-US" sz="3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3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avoriteAnimal</a:t>
            </a:r>
            <a:r>
              <a:rPr lang="en-US" sz="3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String</a:t>
            </a:r>
            <a:r>
              <a:rPr lang="en-US" sz="3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800100" lvl="2" indent="0">
              <a:buNone/>
            </a:pPr>
            <a:r>
              <a:rPr lang="en-US" sz="3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3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3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nput </a:t>
            </a:r>
            <a:r>
              <a:rPr lang="en-US" sz="3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3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wholeTextFiles</a:t>
            </a:r>
            <a:r>
              <a:rPr lang="en-US" sz="3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3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putFile</a:t>
            </a:r>
            <a:r>
              <a:rPr lang="en-US" sz="3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800100" lvl="2" indent="0">
              <a:buNone/>
            </a:pPr>
            <a:r>
              <a:rPr lang="en-US" sz="3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3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3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ult </a:t>
            </a:r>
            <a:r>
              <a:rPr lang="en-US" sz="3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3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put.flatMap</a:t>
            </a:r>
            <a:r>
              <a:rPr lang="en-US" sz="3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3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3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 </a:t>
            </a:r>
            <a:r>
              <a:rPr lang="en-US" sz="3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3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_</a:t>
            </a:r>
            <a:r>
              <a:rPr lang="en-US" sz="3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txt) </a:t>
            </a:r>
            <a:r>
              <a:rPr lang="en-US" sz="3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</a:t>
            </a:r>
          </a:p>
          <a:p>
            <a:pPr marL="800100" lvl="2" indent="0">
              <a:buNone/>
            </a:pPr>
            <a:r>
              <a:rPr lang="en-US" sz="3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3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3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3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ader </a:t>
            </a:r>
            <a:r>
              <a:rPr lang="en-US" sz="3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new </a:t>
            </a:r>
            <a:r>
              <a:rPr lang="en-US" sz="3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SVReader</a:t>
            </a:r>
            <a:r>
              <a:rPr lang="en-US" sz="3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3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new </a:t>
            </a:r>
            <a:r>
              <a:rPr lang="en-US" sz="3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ringReader</a:t>
            </a:r>
            <a:r>
              <a:rPr lang="en-US" sz="3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txt));</a:t>
            </a:r>
          </a:p>
          <a:p>
            <a:pPr marL="800100" lvl="2" indent="0">
              <a:buNone/>
            </a:pPr>
            <a:r>
              <a:rPr lang="en-US" sz="3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3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ader.readAll</a:t>
            </a:r>
            <a:r>
              <a:rPr lang="en-US" sz="3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.map(x </a:t>
            </a:r>
            <a:r>
              <a:rPr lang="en-US" sz="3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 Person</a:t>
            </a:r>
            <a:r>
              <a:rPr lang="en-US" sz="3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x(0), x(1)))</a:t>
            </a:r>
          </a:p>
          <a:p>
            <a:pPr marL="800100" lvl="2" indent="0">
              <a:buNone/>
            </a:pPr>
            <a:r>
              <a:rPr lang="en-US" sz="29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2900" i="1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-208429" y="-12609329"/>
            <a:ext cx="8464923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7313" indent="-87313"/>
            <a:r>
              <a:rPr lang="en-US" sz="1000" dirty="0"/>
              <a:t>Text Files</a:t>
            </a:r>
          </a:p>
          <a:p>
            <a:pPr marL="400050" lvl="1" indent="0">
              <a:buNone/>
            </a:pP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input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.textFil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("file:///home/holden/repos/spark/README.md")</a:t>
            </a:r>
          </a:p>
          <a:p>
            <a:pPr marL="400050" lvl="1" indent="0">
              <a:buNone/>
            </a:pPr>
            <a:r>
              <a:rPr lang="en-US" sz="1000" dirty="0">
                <a:cs typeface="ＭＳ Ｐゴシック" charset="0"/>
              </a:rPr>
              <a:t>Multiples Files (in pair RDD, key name of file)</a:t>
            </a:r>
          </a:p>
          <a:p>
            <a:pPr lvl="1"/>
            <a:r>
              <a:rPr lang="en-US" sz="1000" dirty="0"/>
              <a:t>Support directories &amp; wildcards</a:t>
            </a:r>
          </a:p>
          <a:p>
            <a:pPr lvl="1"/>
            <a:r>
              <a:rPr lang="en-US" sz="1000" dirty="0"/>
              <a:t>Average value per file</a:t>
            </a:r>
          </a:p>
          <a:p>
            <a:pPr marL="800100" lvl="2" indent="0">
              <a:buNone/>
            </a:pP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input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.wholeTextFiles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("file:///home/holden/salesFiles")</a:t>
            </a:r>
          </a:p>
          <a:p>
            <a:pPr marL="800100" lvl="2" indent="0">
              <a:buNone/>
            </a:pP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result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put.mapValues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{y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=&gt;</a:t>
            </a:r>
          </a:p>
          <a:p>
            <a:pPr marL="1257300" lvl="3" indent="0">
              <a:buNone/>
            </a:pP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ums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y.split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(" ").map(x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=&gt;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x.toDoubl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1257300" lvl="3" indent="0">
              <a:buNone/>
            </a:pP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ums.sum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/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ums.size.toDouble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342900" lvl="2" indent="-342900"/>
            <a:endParaRPr lang="en-US" sz="1000" dirty="0"/>
          </a:p>
        </p:txBody>
      </p:sp>
      <p:sp>
        <p:nvSpPr>
          <p:cNvPr id="4" name="Rounded Rectangular Callout 3"/>
          <p:cNvSpPr/>
          <p:nvPr/>
        </p:nvSpPr>
        <p:spPr>
          <a:xfrm>
            <a:off x="7135811" y="3750068"/>
            <a:ext cx="1962365" cy="410965"/>
          </a:xfrm>
          <a:prstGeom prst="wedgeRoundRectCallout">
            <a:avLst>
              <a:gd name="adj1" fmla="val -70572"/>
              <a:gd name="adj2" fmla="val 32500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36000" bIns="72000" rtlCol="0" anchor="ctr"/>
          <a:lstStyle/>
          <a:p>
            <a:r>
              <a:rPr lang="en-US" sz="1600" dirty="0" smtClean="0">
                <a:solidFill>
                  <a:schemeClr val="tx1"/>
                </a:solidFill>
              </a:rPr>
              <a:t>(</a:t>
            </a:r>
            <a:r>
              <a:rPr lang="en-US" sz="1600" dirty="0" err="1" smtClean="0">
                <a:solidFill>
                  <a:schemeClr val="tx1"/>
                </a:solidFill>
              </a:rPr>
              <a:t>FileName</a:t>
            </a:r>
            <a:r>
              <a:rPr lang="en-US" sz="1600" dirty="0" smtClean="0">
                <a:solidFill>
                  <a:schemeClr val="tx1"/>
                </a:solidFill>
              </a:rPr>
              <a:t>, content)</a:t>
            </a:r>
          </a:p>
        </p:txBody>
      </p:sp>
    </p:spTree>
    <p:extLst>
      <p:ext uri="{BB962C8B-B14F-4D97-AF65-F5344CB8AC3E}">
        <p14:creationId xmlns:p14="http://schemas.microsoft.com/office/powerpoint/2010/main" val="3978255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dirty="0"/>
              <a:t>Load and Save Dat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 smtClean="0"/>
              <a:t>Saving RDD as a text file</a:t>
            </a:r>
          </a:p>
          <a:p>
            <a:pPr marL="400050" lvl="1" indent="0">
              <a:buNone/>
            </a:pPr>
            <a:r>
              <a:rPr lang="en-US" sz="2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saveAsTextFile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2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outputFile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en-US" sz="2400" dirty="0" smtClean="0"/>
              <a:t>For CVS: Write a function that converts the fields to given positions in an comma separated line and save as text fil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6169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dirty="0" smtClean="0"/>
              <a:t>Load and Save Data -- Sequence Fi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8430" y="883863"/>
            <a:ext cx="8832828" cy="3896481"/>
          </a:xfrm>
        </p:spPr>
        <p:txBody>
          <a:bodyPr>
            <a:noAutofit/>
          </a:bodyPr>
          <a:lstStyle/>
          <a:p>
            <a:pPr lvl="1"/>
            <a:r>
              <a:rPr lang="en-US" sz="2000" dirty="0" smtClean="0"/>
              <a:t>Flat files with key/value pairs</a:t>
            </a:r>
          </a:p>
          <a:p>
            <a:pPr lvl="1"/>
            <a:r>
              <a:rPr lang="en-US" sz="2000" dirty="0"/>
              <a:t>S</a:t>
            </a:r>
            <a:r>
              <a:rPr lang="en-US" sz="2000" dirty="0" smtClean="0"/>
              <a:t>ync markers that allow Spark read </a:t>
            </a:r>
            <a:r>
              <a:rPr lang="en-US" sz="2000" dirty="0" err="1" smtClean="0"/>
              <a:t>SequenceFiles</a:t>
            </a:r>
            <a:r>
              <a:rPr lang="en-US" sz="2000" dirty="0" smtClean="0"/>
              <a:t> in parallel from multiples nodes</a:t>
            </a:r>
          </a:p>
          <a:p>
            <a:pPr lvl="1"/>
            <a:r>
              <a:rPr lang="en-US" sz="2000" dirty="0" smtClean="0"/>
              <a:t>The elements implement Hadoop’s Writable Interface Like </a:t>
            </a:r>
            <a:r>
              <a:rPr lang="en-US" sz="2000" dirty="0" err="1" smtClean="0"/>
              <a:t>IntWritable</a:t>
            </a:r>
            <a:r>
              <a:rPr lang="en-US" sz="2000" dirty="0" smtClean="0"/>
              <a:t>, Text …</a:t>
            </a:r>
          </a:p>
          <a:p>
            <a:pPr lvl="1"/>
            <a:r>
              <a:rPr lang="en-US" sz="2000" dirty="0" smtClean="0"/>
              <a:t>Add dependencies for hadoop to your </a:t>
            </a:r>
            <a:r>
              <a:rPr lang="en-US" sz="2000" dirty="0" err="1" smtClean="0"/>
              <a:t>sbt</a:t>
            </a:r>
            <a:r>
              <a:rPr lang="en-US" sz="2000" dirty="0" smtClean="0"/>
              <a:t> project</a:t>
            </a:r>
          </a:p>
          <a:p>
            <a:pPr lvl="1"/>
            <a:r>
              <a:rPr lang="en-US" sz="2000" dirty="0" smtClean="0"/>
              <a:t>Always map the loading to Scala types for doing computations. </a:t>
            </a:r>
          </a:p>
          <a:p>
            <a:pPr marL="857250" lvl="2" indent="0">
              <a:buNone/>
            </a:pPr>
            <a:r>
              <a:rPr lang="en-US" sz="20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0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ata </a:t>
            </a:r>
            <a:r>
              <a:rPr lang="en-US" sz="20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2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sequenceFile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2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File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2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lassOf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20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, </a:t>
            </a:r>
            <a:r>
              <a:rPr lang="en-US" sz="2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lassOf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20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Writable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)</a:t>
            </a:r>
          </a:p>
          <a:p>
            <a:pPr marL="857250" lvl="2" indent="0">
              <a:buNone/>
            </a:pP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map{</a:t>
            </a:r>
            <a:r>
              <a:rPr lang="en-US" sz="20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 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x, y) </a:t>
            </a:r>
            <a:r>
              <a:rPr lang="en-US" sz="20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 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2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x.toString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2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y.get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)}</a:t>
            </a:r>
          </a:p>
          <a:p>
            <a:pPr lvl="1"/>
            <a:r>
              <a:rPr lang="en-US" sz="2000" dirty="0" smtClean="0"/>
              <a:t>Or use </a:t>
            </a:r>
            <a:r>
              <a:rPr lang="en-US" sz="2000" dirty="0" err="1" smtClean="0"/>
              <a:t>sequenceFile</a:t>
            </a:r>
            <a:r>
              <a:rPr lang="en-US" sz="2000" dirty="0" smtClean="0"/>
              <a:t>[Key, Value](path) that returns native Scala typ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779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dirty="0" smtClean="0"/>
              <a:t>Load and Save Data -- Sequence Fi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8430" y="883863"/>
            <a:ext cx="8935570" cy="3362325"/>
          </a:xfrm>
        </p:spPr>
        <p:txBody>
          <a:bodyPr>
            <a:noAutofit/>
          </a:bodyPr>
          <a:lstStyle/>
          <a:p>
            <a:pPr lvl="1"/>
            <a:r>
              <a:rPr lang="en-US" sz="2800" dirty="0" smtClean="0"/>
              <a:t>Saving </a:t>
            </a:r>
            <a:r>
              <a:rPr lang="en-US" sz="2800" dirty="0" err="1" smtClean="0"/>
              <a:t>sequenceFile</a:t>
            </a:r>
            <a:endParaRPr lang="en-US" sz="2800" dirty="0" smtClean="0"/>
          </a:p>
          <a:p>
            <a:pPr marL="179388" lvl="1" indent="0">
              <a:buNone/>
            </a:pPr>
            <a:endParaRPr lang="en-US" sz="2800" dirty="0" smtClean="0"/>
          </a:p>
          <a:p>
            <a:pPr marL="857250" lvl="2" indent="0">
              <a:buNone/>
            </a:pPr>
            <a:r>
              <a:rPr lang="en-US" sz="28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8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ata </a:t>
            </a:r>
            <a:r>
              <a:rPr lang="en-US" sz="28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	</a:t>
            </a:r>
            <a:r>
              <a:rPr lang="en-US" sz="2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parallelize</a:t>
            </a:r>
            <a:r>
              <a:rPr lang="en-US" sz="2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28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List</a:t>
            </a:r>
            <a:r>
              <a:rPr lang="en-US" sz="2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("Panda", 3), 	("Kay", 6), ("Snail", 2)))</a:t>
            </a:r>
          </a:p>
          <a:p>
            <a:pPr marL="857250" lvl="2" indent="0">
              <a:buNone/>
            </a:pPr>
            <a:r>
              <a:rPr lang="en-US" sz="2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ata.saveAsSequenceFile</a:t>
            </a:r>
            <a:r>
              <a:rPr lang="en-US" sz="2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2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outputFile</a:t>
            </a:r>
            <a:r>
              <a:rPr lang="en-US" sz="2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lvl="1"/>
            <a:endParaRPr lang="en-US" sz="28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6345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dirty="0"/>
              <a:t>Load and Save </a:t>
            </a:r>
            <a:r>
              <a:rPr lang="en-US" dirty="0" smtClean="0"/>
              <a:t>Data – Hadoo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 smtClean="0"/>
              <a:t>Spark also can interact with Hadoop input and output formats</a:t>
            </a:r>
          </a:p>
          <a:p>
            <a:r>
              <a:rPr lang="en-US" sz="1800" dirty="0" smtClean="0"/>
              <a:t>Example loading with new </a:t>
            </a:r>
            <a:r>
              <a:rPr lang="en-US" sz="1800" dirty="0" err="1" smtClean="0"/>
              <a:t>KeyValueTextInputFormat</a:t>
            </a:r>
            <a:r>
              <a:rPr lang="en-US" sz="1800" dirty="0" smtClean="0"/>
              <a:t> for reading key/value data from text files</a:t>
            </a:r>
          </a:p>
          <a:p>
            <a:pPr marL="400050" lvl="1" indent="0">
              <a:buNone/>
            </a:pPr>
            <a:r>
              <a:rPr lang="en-US" sz="18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8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nput </a:t>
            </a:r>
            <a:r>
              <a:rPr lang="en-US" sz="18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newAPIHadoopFile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8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8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8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KeyValueTextInputFormat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(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putFile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.map {</a:t>
            </a:r>
          </a:p>
          <a:p>
            <a:pPr marL="400050" lvl="1" indent="0">
              <a:buNone/>
            </a:pPr>
            <a:r>
              <a:rPr lang="en-US" sz="18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 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x, y) </a:t>
            </a:r>
            <a:r>
              <a:rPr lang="en-US" sz="18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 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x.toString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y.toString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400050" lvl="1" indent="0">
              <a:buNone/>
            </a:pP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marL="180975" indent="-180975"/>
            <a:r>
              <a:rPr lang="en-US" sz="2000" dirty="0" smtClean="0">
                <a:cs typeface="ＭＳ Ｐゴシック" charset="0"/>
              </a:rPr>
              <a:t>Example saving with a sequence file output format</a:t>
            </a:r>
          </a:p>
          <a:p>
            <a:pPr marL="400050" lvl="1" indent="0">
              <a:buNone/>
            </a:pP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</a:t>
            </a:r>
            <a:r>
              <a:rPr lang="en-US" sz="18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veAsNewAPIHadoopFile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ileName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ext.class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Writable.class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quenceFileOutputFormat.class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en-US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5515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dirty="0" smtClean="0"/>
              <a:t>Load and Save data – File System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6" y="977993"/>
            <a:ext cx="8619611" cy="3775542"/>
          </a:xfrm>
        </p:spPr>
        <p:txBody>
          <a:bodyPr>
            <a:normAutofit/>
          </a:bodyPr>
          <a:lstStyle/>
          <a:p>
            <a:r>
              <a:rPr lang="en-US" sz="1800" b="1" dirty="0" smtClean="0"/>
              <a:t>Local filesystem: </a:t>
            </a:r>
          </a:p>
          <a:p>
            <a:pPr lvl="1"/>
            <a:r>
              <a:rPr lang="en-US" sz="1600" dirty="0"/>
              <a:t>R</a:t>
            </a:r>
            <a:r>
              <a:rPr lang="en-US" sz="1600" dirty="0" smtClean="0"/>
              <a:t>equires that the files are available at the same path on all nodes in your cluster. If not load locally on the driver and then parallelize</a:t>
            </a:r>
          </a:p>
          <a:p>
            <a:pPr marL="457200" lvl="1" indent="0">
              <a:buNone/>
            </a:pPr>
            <a:r>
              <a:rPr lang="en-US" sz="18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8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dd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	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textFile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“file:///home/gftbigdata/hola.txt”)</a:t>
            </a:r>
          </a:p>
          <a:p>
            <a:pPr lvl="1"/>
            <a:r>
              <a:rPr lang="en-US" sz="1600" dirty="0" smtClean="0"/>
              <a:t>Amazon S3:</a:t>
            </a:r>
          </a:p>
          <a:p>
            <a:pPr lvl="2"/>
            <a:r>
              <a:rPr lang="en-US" sz="1400" dirty="0" smtClean="0"/>
              <a:t>Set AWS_ACCESS_KEY_ID and AWS_SECRET_ACCESS_KEY environment variables in each work</a:t>
            </a:r>
            <a:r>
              <a:rPr lang="en-US" dirty="0" smtClean="0"/>
              <a:t>er</a:t>
            </a:r>
          </a:p>
          <a:p>
            <a:pPr lvl="2"/>
            <a:r>
              <a:rPr lang="en-US" sz="1400" dirty="0" smtClean="0"/>
              <a:t>Fast if nodes are in EC2</a:t>
            </a:r>
          </a:p>
          <a:p>
            <a:pPr marL="457200" lvl="1" indent="0">
              <a:buNone/>
            </a:pPr>
            <a:r>
              <a:rPr lang="en-US" sz="19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9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9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dd</a:t>
            </a:r>
            <a:r>
              <a:rPr lang="en-US" sz="19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9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textFile</a:t>
            </a:r>
            <a:r>
              <a:rPr lang="en-US" sz="1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“s3n://bucket/</a:t>
            </a:r>
            <a:r>
              <a:rPr lang="en-US" sz="19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athwithin</a:t>
            </a:r>
            <a:r>
              <a:rPr lang="en-US" sz="1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-bucket”)</a:t>
            </a:r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800" b="1" dirty="0" smtClean="0"/>
              <a:t>HDFS</a:t>
            </a:r>
          </a:p>
          <a:p>
            <a:pPr lvl="1"/>
            <a:r>
              <a:rPr lang="en-US" sz="1600" dirty="0" smtClean="0"/>
              <a:t>Take advantage of this data locality to avoid network overhead</a:t>
            </a:r>
          </a:p>
          <a:p>
            <a:pPr marL="457200" lvl="1" indent="0">
              <a:buNone/>
            </a:pPr>
            <a:r>
              <a:rPr lang="en-US" sz="19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9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9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dd</a:t>
            </a:r>
            <a:r>
              <a:rPr lang="en-US" sz="19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9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textFile</a:t>
            </a:r>
            <a:r>
              <a:rPr lang="en-US" sz="1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“</a:t>
            </a:r>
            <a:r>
              <a:rPr lang="en-US" sz="19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dfs</a:t>
            </a:r>
            <a:r>
              <a:rPr lang="en-US" sz="1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//</a:t>
            </a:r>
            <a:r>
              <a:rPr lang="en-US" sz="19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aster:port</a:t>
            </a:r>
            <a:r>
              <a:rPr lang="en-US" sz="1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path”)</a:t>
            </a:r>
          </a:p>
          <a:p>
            <a:pPr lvl="1"/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457200" lvl="1" indent="0">
              <a:buNone/>
            </a:pPr>
            <a:endParaRPr lang="en-US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1227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45260"/>
          </a:xfrm>
        </p:spPr>
        <p:txBody>
          <a:bodyPr/>
          <a:lstStyle/>
          <a:p>
            <a:r>
              <a:rPr lang="en-US" sz="2800" noProof="0" dirty="0" smtClean="0"/>
              <a:t>Spark cluster </a:t>
            </a:r>
            <a:r>
              <a:rPr lang="en-US" sz="2800" noProof="0" dirty="0" err="1" smtClean="0"/>
              <a:t>infraestructure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55" name="Inhaltsplatzhalter 5"/>
          <p:cNvSpPr>
            <a:spLocks noGrp="1"/>
          </p:cNvSpPr>
          <p:nvPr>
            <p:ph idx="1"/>
          </p:nvPr>
        </p:nvSpPr>
        <p:spPr>
          <a:xfrm>
            <a:off x="188259" y="815560"/>
            <a:ext cx="8585947" cy="3924528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sz="2000" noProof="0" dirty="0" smtClean="0"/>
              <a:t>Spark is  an Open-source cluster computing framework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sz="2000" noProof="0" dirty="0" smtClean="0"/>
              <a:t>Requires </a:t>
            </a:r>
            <a:r>
              <a:rPr lang="en-US" altLang="de-DE" sz="2000" b="1" noProof="0" dirty="0" smtClean="0"/>
              <a:t>cluster manager</a:t>
            </a:r>
            <a:endParaRPr lang="en-US" altLang="de-DE" sz="2000" noProof="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sz="1800" noProof="0" dirty="0" smtClean="0"/>
              <a:t>Standalone – simple cluster manager included in Spark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sz="1800" noProof="0" dirty="0" smtClean="0"/>
              <a:t>Apache </a:t>
            </a:r>
            <a:r>
              <a:rPr lang="en-US" altLang="de-DE" sz="1800" noProof="0" dirty="0" err="1" smtClean="0"/>
              <a:t>Mesos</a:t>
            </a:r>
            <a:r>
              <a:rPr lang="en-US" altLang="de-DE" sz="1800" noProof="0" dirty="0" smtClean="0"/>
              <a:t> – general, large scale cluster manager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sz="1800" noProof="0" dirty="0" smtClean="0"/>
              <a:t>Hadoop YARN – resource manager for Hadoop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sz="2000" noProof="0" dirty="0" smtClean="0"/>
              <a:t>Distributed </a:t>
            </a:r>
            <a:r>
              <a:rPr lang="en-US" altLang="de-DE" sz="2000" b="1" noProof="0" dirty="0" smtClean="0"/>
              <a:t>storage system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sz="1800" noProof="0" dirty="0" smtClean="0"/>
              <a:t>HDFS (Hadoop Distributed File System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sz="1800" noProof="0" dirty="0" smtClean="0"/>
              <a:t>Amazon S3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sz="1800" noProof="0" dirty="0" smtClean="0"/>
              <a:t>Cassandra, OpenStack Swift, Tachyon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sz="2000" noProof="0" dirty="0" smtClean="0"/>
              <a:t>Also supports </a:t>
            </a:r>
            <a:r>
              <a:rPr lang="en-US" altLang="de-DE" sz="2000" b="1" noProof="0" dirty="0" smtClean="0"/>
              <a:t>pseudo-distributed mode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sz="1800" noProof="0" dirty="0" smtClean="0"/>
              <a:t>Development and testing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sz="1800" noProof="0" dirty="0" smtClean="0"/>
              <a:t>local file system, one worker per CPU core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endParaRPr lang="en-US" altLang="de-DE" sz="1800" noProof="0" dirty="0" smtClean="0"/>
          </a:p>
        </p:txBody>
      </p:sp>
      <p:pic>
        <p:nvPicPr>
          <p:cNvPr id="4099" name="Picture 3" descr="C:\Users\aimr\Pictures\spark-clust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3562" y="2427195"/>
            <a:ext cx="4164824" cy="1949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0177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dirty="0"/>
              <a:t>Load and Save </a:t>
            </a:r>
            <a:r>
              <a:rPr lang="en-US" dirty="0" smtClean="0"/>
              <a:t>Data – SQ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04034"/>
            <a:ext cx="8243888" cy="3362325"/>
          </a:xfrm>
        </p:spPr>
        <p:txBody>
          <a:bodyPr>
            <a:normAutofit/>
          </a:bodyPr>
          <a:lstStyle/>
          <a:p>
            <a:r>
              <a:rPr lang="en-US" sz="1800" b="1" dirty="0" smtClean="0"/>
              <a:t>Spark SQL </a:t>
            </a:r>
            <a:r>
              <a:rPr lang="en-US" sz="1800" dirty="0" smtClean="0"/>
              <a:t>ready for working with structured data in a relational way </a:t>
            </a:r>
          </a:p>
          <a:p>
            <a:r>
              <a:rPr lang="en-US" sz="1800" dirty="0"/>
              <a:t>H</a:t>
            </a:r>
            <a:r>
              <a:rPr lang="en-US" sz="1800" dirty="0" smtClean="0"/>
              <a:t>as its own context (see later)</a:t>
            </a:r>
          </a:p>
          <a:p>
            <a:r>
              <a:rPr lang="en-US" sz="1800" dirty="0" smtClean="0"/>
              <a:t>Can load </a:t>
            </a:r>
            <a:r>
              <a:rPr lang="en-US" sz="1800" b="1" dirty="0" smtClean="0"/>
              <a:t>Hive tables </a:t>
            </a:r>
            <a:r>
              <a:rPr lang="en-US" sz="1800" dirty="0" smtClean="0"/>
              <a:t>(SQL like abstraction over Hadoop map-reduce)</a:t>
            </a:r>
          </a:p>
          <a:p>
            <a:pPr lvl="1"/>
            <a:r>
              <a:rPr lang="en-US" sz="1800" dirty="0" smtClean="0"/>
              <a:t>Copy hive-site.xml to Spark </a:t>
            </a:r>
            <a:r>
              <a:rPr lang="en-US" sz="1800" dirty="0" err="1" smtClean="0"/>
              <a:t>conf</a:t>
            </a:r>
            <a:r>
              <a:rPr lang="en-US" sz="1800" dirty="0" smtClean="0"/>
              <a:t> directory</a:t>
            </a:r>
          </a:p>
          <a:p>
            <a:pPr lvl="1"/>
            <a:r>
              <a:rPr lang="en-US" sz="1800" dirty="0" smtClean="0"/>
              <a:t>And use </a:t>
            </a:r>
            <a:r>
              <a:rPr lang="en-US" sz="1800" dirty="0" err="1" smtClean="0"/>
              <a:t>HiveContext</a:t>
            </a:r>
            <a:r>
              <a:rPr lang="en-US" sz="1800" dirty="0" smtClean="0"/>
              <a:t> which is a specialization of </a:t>
            </a:r>
            <a:r>
              <a:rPr lang="en-US" sz="1800" dirty="0" err="1" smtClean="0"/>
              <a:t>SQLContext</a:t>
            </a:r>
            <a:endParaRPr lang="en-US" sz="1800" dirty="0" smtClean="0"/>
          </a:p>
          <a:p>
            <a:pPr marL="800100" lvl="2" indent="0">
              <a:buNone/>
            </a:pPr>
            <a:r>
              <a:rPr lang="en-US" sz="18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en-US" sz="18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org.apache.spark.sql.hive.HiveContext</a:t>
            </a:r>
            <a:endParaRPr lang="en-US" sz="1800" b="1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800100" lvl="2" indent="0">
              <a:buNone/>
            </a:pPr>
            <a:r>
              <a:rPr lang="en-US" sz="18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8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iveCtx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new </a:t>
            </a:r>
            <a:r>
              <a:rPr lang="en-US" sz="18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iveContext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800100" lvl="2" indent="0">
              <a:buNone/>
            </a:pPr>
            <a:r>
              <a:rPr lang="en-US" sz="18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8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ows </a:t>
            </a:r>
            <a:r>
              <a:rPr lang="en-US" sz="18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iveCtx.sql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SELECT name, age FROM users")</a:t>
            </a:r>
          </a:p>
          <a:p>
            <a:pPr marL="800100" lvl="2" indent="0">
              <a:buNone/>
            </a:pPr>
            <a:r>
              <a:rPr lang="en-US" sz="18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8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irstRow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ows.first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800100" lvl="2" indent="0">
              <a:buNone/>
            </a:pP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irstRow.getString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0)) </a:t>
            </a:r>
            <a:r>
              <a:rPr lang="en-US" sz="18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Field 0 is the name</a:t>
            </a:r>
            <a:endParaRPr lang="en-US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7263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Load and Save Data </a:t>
            </a:r>
            <a:r>
              <a:rPr lang="en-US" dirty="0" smtClean="0"/>
              <a:t>– Databas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00953"/>
            <a:ext cx="8518711" cy="3839135"/>
          </a:xfrm>
        </p:spPr>
        <p:txBody>
          <a:bodyPr>
            <a:noAutofit/>
          </a:bodyPr>
          <a:lstStyle/>
          <a:p>
            <a:r>
              <a:rPr lang="en-US" sz="1800" dirty="0" smtClean="0"/>
              <a:t>Loading data from a database</a:t>
            </a:r>
            <a:endParaRPr lang="en-US" dirty="0" smtClean="0"/>
          </a:p>
          <a:p>
            <a:pPr marL="400050" lvl="1" indent="0">
              <a:buNone/>
            </a:pP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reateConnectio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 marL="400050" lvl="1" indent="0">
              <a:buNone/>
            </a:pP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.forNam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.mysql.jdbc.Drive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).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ewInstanc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</a:p>
          <a:p>
            <a:pPr marL="400050" lvl="1" indent="0">
              <a:buNone/>
            </a:pP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riverManager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.getConnectio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jdbc:mysql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//localhost/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est?use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olde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);</a:t>
            </a:r>
          </a:p>
          <a:p>
            <a:pPr marL="400050" lvl="1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marL="400050" lvl="1" indent="0">
              <a:buNone/>
            </a:pP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extractValues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r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Se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 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.getIn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1),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.getString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2)) }</a:t>
            </a:r>
          </a:p>
          <a:p>
            <a:pPr marL="400050" lvl="1" indent="0">
              <a:buNone/>
            </a:pP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ata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new 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JdbcRDD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reateConnectio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marL="400050" lvl="1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"SELECT * FROM panda WHERE </a:t>
            </a:r>
            <a:r>
              <a:rPr lang="en-US" sz="1400" b="1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?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&lt;= id AND id &lt;= </a:t>
            </a:r>
            <a:r>
              <a:rPr lang="en-US" sz="1400" b="1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?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owerBound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400" b="1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		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pperBound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400" b="1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umPartitions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2,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apRow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extractValues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400050" lvl="1" indent="0">
              <a:buNone/>
            </a:pP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ata.collec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oLis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400" dirty="0" smtClean="0"/>
          </a:p>
          <a:p>
            <a:pPr marL="400050" lvl="2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</a:p>
          <a:p>
            <a:pPr marL="400050" lvl="2" indent="0">
              <a:buNone/>
            </a:pP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override 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adFields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r: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Se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= {</a:t>
            </a:r>
          </a:p>
          <a:p>
            <a:pPr marL="400050" lvl="2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  // blank since only used for writing</a:t>
            </a:r>
          </a:p>
          <a:p>
            <a:pPr marL="400050" lvl="2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7768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Load and Save Data </a:t>
            </a:r>
            <a:r>
              <a:rPr lang="en-US" dirty="0" smtClean="0"/>
              <a:t>– Databas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07677"/>
            <a:ext cx="8243888" cy="3798794"/>
          </a:xfrm>
        </p:spPr>
        <p:txBody>
          <a:bodyPr>
            <a:normAutofit fontScale="32500" lnSpcReduction="20000"/>
          </a:bodyPr>
          <a:lstStyle/>
          <a:p>
            <a:r>
              <a:rPr lang="en-US" sz="5600" dirty="0" smtClean="0">
                <a:cs typeface="ＭＳ Ｐゴシック" charset="0"/>
              </a:rPr>
              <a:t>Saving data to a database (using Hadoop </a:t>
            </a:r>
            <a:r>
              <a:rPr lang="en-US" sz="5600" dirty="0" err="1" smtClean="0">
                <a:cs typeface="ＭＳ Ｐゴシック" charset="0"/>
              </a:rPr>
              <a:t>DBOutputFormat</a:t>
            </a:r>
            <a:r>
              <a:rPr lang="en-US" sz="5600" dirty="0" smtClean="0">
                <a:cs typeface="ＭＳ Ｐゴシック" charset="0"/>
              </a:rPr>
              <a:t>)</a:t>
            </a:r>
          </a:p>
          <a:p>
            <a:pPr marL="400050" lvl="2" indent="0">
              <a:buNone/>
            </a:pPr>
            <a:r>
              <a:rPr lang="en-US" sz="40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records = </a:t>
            </a:r>
            <a:r>
              <a:rPr lang="en-US" sz="4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ata.map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e =&gt; (</a:t>
            </a:r>
            <a:r>
              <a:rPr lang="en-US" sz="4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atRecord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e._1, e._2), null))</a:t>
            </a:r>
          </a:p>
          <a:p>
            <a:pPr marL="400050" lvl="2" indent="0">
              <a:buNone/>
            </a:pPr>
            <a:r>
              <a:rPr lang="en-US" sz="40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4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ableName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"table"</a:t>
            </a:r>
          </a:p>
          <a:p>
            <a:pPr marL="400050" lvl="2" indent="0">
              <a:buNone/>
            </a:pPr>
            <a:r>
              <a:rPr lang="en-US" sz="40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fields = Array("name", "age")</a:t>
            </a:r>
          </a:p>
          <a:p>
            <a:pPr marL="400050" lvl="2" indent="0">
              <a:buNone/>
            </a:pPr>
            <a:r>
              <a:rPr lang="en-US" sz="40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4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jobConf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new </a:t>
            </a:r>
            <a:r>
              <a:rPr lang="en-US" sz="4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JobConf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400050" lvl="2" indent="0">
              <a:buNone/>
            </a:pPr>
            <a:r>
              <a:rPr lang="en-US" sz="4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BConfiguration.configureDB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4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jobConf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"</a:t>
            </a:r>
            <a:r>
              <a:rPr lang="en-US" sz="4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.mysql.jdbc.Driver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, 				"</a:t>
            </a:r>
            <a:r>
              <a:rPr lang="en-US" sz="4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jdbc:mysql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//localhost/</a:t>
            </a:r>
            <a:r>
              <a:rPr lang="en-US" sz="4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est?user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4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olden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)</a:t>
            </a:r>
          </a:p>
          <a:p>
            <a:pPr marL="400050" lvl="2" indent="0">
              <a:buNone/>
            </a:pPr>
            <a:r>
              <a:rPr lang="en-US" sz="4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BOutputFormat.setOutput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4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jobConf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4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ableName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fields:_*)</a:t>
            </a:r>
          </a:p>
          <a:p>
            <a:pPr marL="400050" lvl="2" indent="0">
              <a:buNone/>
            </a:pPr>
            <a:r>
              <a:rPr lang="en-US" sz="4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cords.saveAsHadoopDataset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4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jobConf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400050" lvl="2" indent="0">
              <a:buNone/>
            </a:pP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…]</a:t>
            </a:r>
          </a:p>
          <a:p>
            <a:pPr marL="400050" lvl="2" indent="0">
              <a:buNone/>
            </a:pPr>
            <a:r>
              <a:rPr lang="en-US" sz="40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 class </a:t>
            </a:r>
            <a:r>
              <a:rPr lang="en-US" sz="4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atRecord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name: String, age: </a:t>
            </a:r>
            <a:r>
              <a:rPr lang="en-US" sz="4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extends </a:t>
            </a:r>
            <a:r>
              <a:rPr lang="en-US" sz="4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BWritable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</a:p>
          <a:p>
            <a:pPr marL="400050" lvl="2" indent="0">
              <a:buNone/>
            </a:pP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override </a:t>
            </a:r>
            <a:r>
              <a:rPr lang="en-US" sz="4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write(s: </a:t>
            </a:r>
            <a:r>
              <a:rPr lang="en-US" sz="4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eparedStatement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 marL="400050" lvl="2" indent="0">
              <a:buNone/>
            </a:pP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en-US" sz="4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.setString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1, name)</a:t>
            </a:r>
          </a:p>
          <a:p>
            <a:pPr marL="400050" lvl="2" indent="0">
              <a:buNone/>
            </a:pP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en-US" sz="4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.setInt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2, age)</a:t>
            </a:r>
          </a:p>
          <a:p>
            <a:pPr marL="400050" lvl="2" indent="0">
              <a:buNone/>
            </a:pP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</a:p>
          <a:p>
            <a:pPr marL="400050" lvl="2" indent="0">
              <a:buNone/>
            </a:pP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override </a:t>
            </a:r>
            <a:r>
              <a:rPr lang="en-US" sz="4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4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adFields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r: </a:t>
            </a:r>
            <a:r>
              <a:rPr lang="en-US" sz="4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Set</a:t>
            </a: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= {</a:t>
            </a:r>
          </a:p>
          <a:p>
            <a:pPr marL="400050" lvl="2" indent="0">
              <a:buNone/>
            </a:pP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  // blank since only used for writing</a:t>
            </a:r>
          </a:p>
          <a:p>
            <a:pPr marL="400050" lvl="2" indent="0">
              <a:buNone/>
            </a:pP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</a:p>
          <a:p>
            <a:pPr marL="400050" lvl="2" indent="0">
              <a:buNone/>
            </a:pPr>
            <a:r>
              <a:rPr lang="en-US" sz="4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en-US" sz="4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417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942975" y="1941508"/>
            <a:ext cx="5265737" cy="1231106"/>
          </a:xfrm>
        </p:spPr>
        <p:txBody>
          <a:bodyPr/>
          <a:lstStyle/>
          <a:p>
            <a:r>
              <a:rPr lang="en-US" noProof="0" dirty="0" smtClean="0"/>
              <a:t>5. Spark SQL and Data Frame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26270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Spark SQL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97310"/>
            <a:ext cx="8243888" cy="3362325"/>
          </a:xfrm>
        </p:spPr>
        <p:txBody>
          <a:bodyPr>
            <a:normAutofit/>
          </a:bodyPr>
          <a:lstStyle/>
          <a:p>
            <a:r>
              <a:rPr lang="en-US" sz="2000" noProof="0" dirty="0" smtClean="0"/>
              <a:t>Interface for working with structured (schema) and semi-structured data</a:t>
            </a:r>
          </a:p>
          <a:p>
            <a:r>
              <a:rPr lang="en-US" sz="2000" noProof="0" dirty="0" smtClean="0"/>
              <a:t>Three main capabilities:</a:t>
            </a:r>
          </a:p>
          <a:p>
            <a:pPr lvl="1"/>
            <a:r>
              <a:rPr lang="en-US" sz="1800" b="1" noProof="0" dirty="0" err="1" smtClean="0"/>
              <a:t>DataFrame</a:t>
            </a:r>
            <a:r>
              <a:rPr lang="en-US" sz="1800" noProof="0" dirty="0" smtClean="0"/>
              <a:t> abstraction for structured datasets. Similar to tables in Relational database. </a:t>
            </a:r>
          </a:p>
          <a:p>
            <a:pPr lvl="1"/>
            <a:r>
              <a:rPr lang="en-US" sz="1800" noProof="0" dirty="0" smtClean="0"/>
              <a:t>Read &amp; write in structured formats (JSON, Hive, Parquet)</a:t>
            </a:r>
          </a:p>
          <a:p>
            <a:pPr lvl="1"/>
            <a:r>
              <a:rPr lang="en-US" sz="1800" noProof="0" dirty="0" smtClean="0"/>
              <a:t>Query data using SQL inside Spark program &amp; from external tools using JDBC/ODBC</a:t>
            </a:r>
            <a:endParaRPr lang="en-US" sz="18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6795" y="2794933"/>
            <a:ext cx="4499016" cy="19442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29761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DataFram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24205"/>
            <a:ext cx="8572546" cy="3842777"/>
          </a:xfrm>
        </p:spPr>
        <p:txBody>
          <a:bodyPr>
            <a:noAutofit/>
          </a:bodyPr>
          <a:lstStyle/>
          <a:p>
            <a:r>
              <a:rPr lang="en-US" sz="2400" noProof="0" dirty="0" smtClean="0"/>
              <a:t>Extension of the RDD model</a:t>
            </a:r>
          </a:p>
          <a:p>
            <a:r>
              <a:rPr lang="en-US" sz="2400" noProof="0" dirty="0" smtClean="0"/>
              <a:t>A </a:t>
            </a:r>
            <a:r>
              <a:rPr lang="en-US" sz="2400" noProof="0" dirty="0" err="1" smtClean="0"/>
              <a:t>DataFrame</a:t>
            </a:r>
            <a:r>
              <a:rPr lang="en-US" sz="2400" noProof="0" dirty="0" smtClean="0"/>
              <a:t> contains</a:t>
            </a:r>
          </a:p>
          <a:p>
            <a:pPr lvl="1"/>
            <a:r>
              <a:rPr lang="en-US" sz="2000" noProof="0" dirty="0" smtClean="0"/>
              <a:t>RDD of </a:t>
            </a:r>
            <a:r>
              <a:rPr lang="en-US" sz="2000" b="1" noProof="0" dirty="0" smtClean="0"/>
              <a:t>Row</a:t>
            </a:r>
            <a:r>
              <a:rPr lang="en-US" sz="2000" noProof="0" dirty="0" smtClean="0"/>
              <a:t> objects, each representing a record</a:t>
            </a:r>
          </a:p>
          <a:p>
            <a:pPr lvl="1"/>
            <a:r>
              <a:rPr lang="en-US" sz="2000" noProof="0" dirty="0" smtClean="0"/>
              <a:t>Schema (i.e., data fields) of its rows</a:t>
            </a:r>
          </a:p>
          <a:p>
            <a:pPr lvl="1"/>
            <a:r>
              <a:rPr lang="en-US" sz="2000" noProof="0" dirty="0" smtClean="0"/>
              <a:t>Data is stored in a more efficient manner than RDDs (due the schema)</a:t>
            </a:r>
          </a:p>
          <a:p>
            <a:pPr lvl="1"/>
            <a:r>
              <a:rPr lang="en-US" sz="2000" noProof="0" dirty="0" smtClean="0"/>
              <a:t>Provide new operations and can run SQL queries</a:t>
            </a:r>
          </a:p>
          <a:p>
            <a:pPr lvl="1"/>
            <a:r>
              <a:rPr lang="en-US" sz="2000" noProof="0" dirty="0" smtClean="0"/>
              <a:t>Creation from:</a:t>
            </a:r>
          </a:p>
          <a:p>
            <a:pPr lvl="2"/>
            <a:r>
              <a:rPr lang="en-US" sz="2000" noProof="0" dirty="0" smtClean="0"/>
              <a:t>External data sources</a:t>
            </a:r>
          </a:p>
          <a:p>
            <a:pPr lvl="2"/>
            <a:r>
              <a:rPr lang="en-US" sz="2000" noProof="0" dirty="0" smtClean="0"/>
              <a:t>Result of queries</a:t>
            </a:r>
          </a:p>
          <a:p>
            <a:pPr lvl="2"/>
            <a:r>
              <a:rPr lang="en-US" sz="2000" noProof="0" dirty="0" smtClean="0"/>
              <a:t>Regular RDDs</a:t>
            </a:r>
            <a:endParaRPr lang="en-US" sz="20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343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Linking with Spark SQL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6" y="880782"/>
            <a:ext cx="8525481" cy="3600731"/>
          </a:xfrm>
        </p:spPr>
        <p:txBody>
          <a:bodyPr>
            <a:noAutofit/>
          </a:bodyPr>
          <a:lstStyle/>
          <a:p>
            <a:r>
              <a:rPr lang="en-US" sz="1600" noProof="0" dirty="0" smtClean="0"/>
              <a:t>Add dependencies:</a:t>
            </a:r>
          </a:p>
          <a:p>
            <a:pPr lvl="1"/>
            <a:r>
              <a:rPr lang="en-US" sz="1400" noProof="0" dirty="0" smtClean="0"/>
              <a:t>If you want </a:t>
            </a:r>
            <a:r>
              <a:rPr lang="en-US" sz="1400" b="1" noProof="0" dirty="0" smtClean="0"/>
              <a:t>Hive support </a:t>
            </a:r>
            <a:r>
              <a:rPr lang="en-US" sz="1400" noProof="0" dirty="0" smtClean="0"/>
              <a:t>(hive tables, UDFS, </a:t>
            </a:r>
            <a:r>
              <a:rPr lang="en-US" sz="1400" noProof="0" dirty="0" err="1" smtClean="0"/>
              <a:t>SerDes</a:t>
            </a:r>
            <a:r>
              <a:rPr lang="en-US" sz="1400" noProof="0" dirty="0" smtClean="0"/>
              <a:t> &amp; </a:t>
            </a:r>
            <a:r>
              <a:rPr lang="en-US" sz="1400" noProof="0" dirty="0" err="1" smtClean="0"/>
              <a:t>HiveQL</a:t>
            </a:r>
            <a:r>
              <a:rPr lang="en-US" sz="1400" noProof="0" dirty="0" smtClean="0"/>
              <a:t>). </a:t>
            </a:r>
            <a:r>
              <a:rPr lang="en-US" sz="1400" b="1" noProof="0" dirty="0" smtClean="0"/>
              <a:t>Recommended</a:t>
            </a:r>
            <a:r>
              <a:rPr lang="en-US" sz="1400" dirty="0"/>
              <a:t>.</a:t>
            </a:r>
            <a:r>
              <a:rPr lang="en-US" sz="1400" noProof="0" dirty="0" smtClean="0"/>
              <a:t> Does not require a Hive installation</a:t>
            </a:r>
          </a:p>
          <a:p>
            <a:pPr marL="800100" lvl="2" indent="0">
              <a:buNone/>
            </a:pP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braryDependencies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+= "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org.apache.spark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 % "spark-hive_2.10" % "1.5.0</a:t>
            </a:r>
          </a:p>
          <a:p>
            <a:pPr lvl="1"/>
            <a:r>
              <a:rPr lang="en-US" sz="1400" noProof="0" dirty="0" smtClean="0"/>
              <a:t>If you want only </a:t>
            </a:r>
            <a:r>
              <a:rPr lang="en-US" sz="1400" b="1" noProof="0" dirty="0" smtClean="0"/>
              <a:t>SQL support</a:t>
            </a:r>
          </a:p>
          <a:p>
            <a:pPr marL="800100" lvl="2" indent="0">
              <a:buNone/>
            </a:pP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braryDependencies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+= "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org.apache.spark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 % "spark-sql_2.11" % "1.5.0“</a:t>
            </a:r>
          </a:p>
          <a:p>
            <a:r>
              <a:rPr lang="en-US" sz="1600" noProof="0" dirty="0" smtClean="0"/>
              <a:t>Entry points </a:t>
            </a:r>
          </a:p>
          <a:p>
            <a:pPr lvl="1"/>
            <a:r>
              <a:rPr lang="en-US" sz="1400" noProof="0" dirty="0" err="1" smtClean="0"/>
              <a:t>SQLContext</a:t>
            </a:r>
            <a:r>
              <a:rPr lang="en-US" sz="1400" noProof="0" dirty="0" smtClean="0"/>
              <a:t>: extends standard context</a:t>
            </a:r>
          </a:p>
          <a:p>
            <a:pPr lvl="1"/>
            <a:r>
              <a:rPr lang="en-US" sz="1400" noProof="0" dirty="0" err="1" smtClean="0"/>
              <a:t>HiveContext</a:t>
            </a:r>
            <a:r>
              <a:rPr lang="en-US" sz="1400" noProof="0" dirty="0" smtClean="0"/>
              <a:t>: extends </a:t>
            </a:r>
            <a:r>
              <a:rPr lang="en-US" sz="1400" noProof="0" dirty="0" err="1" smtClean="0"/>
              <a:t>SQLContext</a:t>
            </a:r>
            <a:r>
              <a:rPr lang="en-US" sz="1400" noProof="0" dirty="0" smtClean="0"/>
              <a:t> (recommended since </a:t>
            </a:r>
            <a:r>
              <a:rPr lang="en-US" sz="1400" b="1" noProof="0" dirty="0" err="1" smtClean="0"/>
              <a:t>HiveQL</a:t>
            </a:r>
            <a:r>
              <a:rPr lang="en-US" sz="1400" noProof="0" dirty="0" smtClean="0"/>
              <a:t> is the </a:t>
            </a:r>
            <a:r>
              <a:rPr lang="en-US" sz="1400" b="1" noProof="0" dirty="0" smtClean="0"/>
              <a:t>standard query language </a:t>
            </a:r>
            <a:r>
              <a:rPr lang="en-US" sz="1400" noProof="0" dirty="0" smtClean="0"/>
              <a:t>in Spark)</a:t>
            </a:r>
          </a:p>
          <a:p>
            <a:r>
              <a:rPr lang="en-US" sz="1600" noProof="0" dirty="0" smtClean="0"/>
              <a:t>If you have a Hive installation copy </a:t>
            </a:r>
            <a:r>
              <a:rPr lang="en-US" sz="1600" b="1" noProof="0" dirty="0" smtClean="0"/>
              <a:t>hive-site.xml</a:t>
            </a:r>
            <a:r>
              <a:rPr lang="en-US" sz="1600" noProof="0" dirty="0" smtClean="0"/>
              <a:t> to Spark </a:t>
            </a:r>
            <a:r>
              <a:rPr lang="en-US" sz="1600" noProof="0" dirty="0" err="1" smtClean="0"/>
              <a:t>conf</a:t>
            </a:r>
            <a:r>
              <a:rPr lang="en-US" sz="1600" noProof="0" dirty="0" smtClean="0"/>
              <a:t> directory.</a:t>
            </a:r>
          </a:p>
          <a:p>
            <a:r>
              <a:rPr lang="en-US" sz="1600" noProof="0" dirty="0" smtClean="0"/>
              <a:t>If not, Spark SQL will create its own Hive </a:t>
            </a:r>
            <a:r>
              <a:rPr lang="en-US" sz="1600" noProof="0" dirty="0" err="1" smtClean="0"/>
              <a:t>metastore</a:t>
            </a:r>
            <a:r>
              <a:rPr lang="en-US" sz="1600" noProof="0" dirty="0" smtClean="0"/>
              <a:t> in your program’s working directory </a:t>
            </a:r>
            <a:r>
              <a:rPr lang="en-US" sz="1600" b="1" noProof="0" dirty="0" err="1" smtClean="0"/>
              <a:t>metastore_db</a:t>
            </a:r>
            <a:r>
              <a:rPr lang="en-US" sz="1600" b="1" noProof="0" dirty="0" smtClean="0"/>
              <a:t> </a:t>
            </a:r>
            <a:r>
              <a:rPr lang="en-US" sz="1600" noProof="0" dirty="0" smtClean="0"/>
              <a:t>and tables will be placed in </a:t>
            </a:r>
            <a:r>
              <a:rPr lang="en-US" sz="1600" b="1" noProof="0" dirty="0" smtClean="0"/>
              <a:t>/user/hive/ware-house </a:t>
            </a:r>
            <a:r>
              <a:rPr lang="en-US" sz="1600" noProof="0" dirty="0" smtClean="0"/>
              <a:t>in local filesystem or HDFS if you have </a:t>
            </a:r>
            <a:r>
              <a:rPr lang="en-US" sz="1600" b="1" noProof="0" dirty="0" smtClean="0"/>
              <a:t>hdfs-site.xml</a:t>
            </a:r>
            <a:r>
              <a:rPr lang="en-US" sz="1600" noProof="0" dirty="0" smtClean="0"/>
              <a:t> on your </a:t>
            </a:r>
            <a:r>
              <a:rPr lang="en-US" sz="1600" noProof="0" dirty="0" err="1" smtClean="0"/>
              <a:t>classpath</a:t>
            </a:r>
            <a:endParaRPr lang="en-US" sz="1600" noProof="0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6675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noProof="0" dirty="0" smtClean="0"/>
              <a:t>Using </a:t>
            </a:r>
            <a:r>
              <a:rPr lang="en-US" noProof="0" dirty="0" err="1" smtClean="0"/>
              <a:t>SparkSQL</a:t>
            </a:r>
            <a:r>
              <a:rPr lang="en-US" noProof="0" dirty="0" smtClean="0"/>
              <a:t> in Application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67335"/>
            <a:ext cx="8535906" cy="3906371"/>
          </a:xfrm>
        </p:spPr>
        <p:txBody>
          <a:bodyPr>
            <a:noAutofit/>
          </a:bodyPr>
          <a:lstStyle/>
          <a:p>
            <a:r>
              <a:rPr lang="en-US" sz="1600" noProof="0" dirty="0" smtClean="0"/>
              <a:t>Easy Data load and query combining with “regular” code</a:t>
            </a:r>
          </a:p>
          <a:p>
            <a:r>
              <a:rPr lang="en-US" sz="1600" noProof="0" dirty="0" smtClean="0"/>
              <a:t>Import Contexts</a:t>
            </a:r>
          </a:p>
          <a:p>
            <a:pPr marL="400050" lvl="1" indent="0">
              <a:buNone/>
            </a:pP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org.apache.spark.sql.hive.HiveContext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en-US" sz="14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en-US" sz="1400" i="1" dirty="0">
                <a:latin typeface="Courier New" panose="02070309020205020404" pitchFamily="49" charset="0"/>
                <a:cs typeface="Courier New" panose="02070309020205020404" pitchFamily="49" charset="0"/>
              </a:rPr>
              <a:t>Import Spark </a:t>
            </a:r>
            <a:r>
              <a:rPr lang="en-US" sz="14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QL</a:t>
            </a:r>
            <a:endParaRPr lang="en-US" sz="1400" b="1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import </a:t>
            </a: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org.apache.spark.sql.SQLContext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en-US" sz="14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en-US" sz="1400" i="1" dirty="0">
                <a:latin typeface="Courier New" panose="02070309020205020404" pitchFamily="49" charset="0"/>
                <a:cs typeface="Courier New" panose="02070309020205020404" pitchFamily="49" charset="0"/>
              </a:rPr>
              <a:t>Or if you can't have </a:t>
            </a:r>
            <a:r>
              <a:rPr lang="en-US" sz="14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hive</a:t>
            </a:r>
            <a:endParaRPr lang="en-US" sz="1400" b="1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noProof="0" dirty="0" smtClean="0"/>
              <a:t>Create a SQL context</a:t>
            </a:r>
          </a:p>
          <a:p>
            <a:pPr marL="400050" lvl="1" indent="0">
              <a:buNone/>
            </a:pP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new </a:t>
            </a: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parkContext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...)</a:t>
            </a:r>
          </a:p>
          <a:p>
            <a:pPr marL="400050" lvl="1" indent="0">
              <a:buNone/>
            </a:pP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iveCtx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new </a:t>
            </a: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iveContext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en-US" sz="1600" noProof="0" dirty="0" smtClean="0"/>
              <a:t>Import </a:t>
            </a:r>
            <a:r>
              <a:rPr lang="en-US" sz="1600" noProof="0" dirty="0" err="1" smtClean="0"/>
              <a:t>implicits</a:t>
            </a:r>
            <a:r>
              <a:rPr lang="en-US" sz="1600" noProof="0" dirty="0" smtClean="0"/>
              <a:t> to convert RDDs into specialized RDDs for querying</a:t>
            </a:r>
          </a:p>
          <a:p>
            <a:pPr marL="457200" lvl="1" indent="0">
              <a:buNone/>
            </a:pP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iveCtx.implicits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_ </a:t>
            </a:r>
            <a:r>
              <a:rPr lang="en-US" sz="1400" i="1" dirty="0">
                <a:latin typeface="Courier New" panose="02070309020205020404" pitchFamily="49" charset="0"/>
                <a:cs typeface="Courier New" panose="02070309020205020404" pitchFamily="49" charset="0"/>
              </a:rPr>
              <a:t>// Import the implicit </a:t>
            </a:r>
            <a:r>
              <a:rPr lang="en-US" sz="14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onversions</a:t>
            </a:r>
            <a:endParaRPr lang="en-US" sz="14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noProof="0" dirty="0" smtClean="0"/>
              <a:t>Basic Query: Load some JSON twitter data. </a:t>
            </a:r>
            <a:r>
              <a:rPr lang="en-US" sz="1600" dirty="0"/>
              <a:t>R</a:t>
            </a:r>
            <a:r>
              <a:rPr lang="en-US" sz="1600" noProof="0" dirty="0" err="1" smtClean="0"/>
              <a:t>egister</a:t>
            </a:r>
            <a:r>
              <a:rPr lang="en-US" sz="1600" noProof="0" dirty="0" smtClean="0"/>
              <a:t> it as “</a:t>
            </a:r>
            <a:r>
              <a:rPr lang="en-US" sz="1600" noProof="0" dirty="0" err="1" smtClean="0"/>
              <a:t>temporay</a:t>
            </a:r>
            <a:r>
              <a:rPr lang="en-US" sz="1600" noProof="0" dirty="0" smtClean="0"/>
              <a:t> table” for SQL query</a:t>
            </a:r>
          </a:p>
          <a:p>
            <a:pPr marL="400050" lvl="1" indent="0">
              <a:buNone/>
            </a:pP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nput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iveCtx.jsonFile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putFile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400050" lvl="1" indent="0">
              <a:buNone/>
            </a:pP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put.registerTempTable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tweets") </a:t>
            </a:r>
            <a:r>
              <a:rPr lang="en-US" sz="1400" i="1" dirty="0">
                <a:latin typeface="Courier New" panose="02070309020205020404" pitchFamily="49" charset="0"/>
                <a:cs typeface="Courier New" panose="02070309020205020404" pitchFamily="49" charset="0"/>
              </a:rPr>
              <a:t>// Register the input schema </a:t>
            </a:r>
            <a:r>
              <a:rPr lang="en-US" sz="14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DD</a:t>
            </a:r>
            <a:endParaRPr lang="en-US" sz="14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400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Select tweets based on the </a:t>
            </a:r>
            <a:r>
              <a:rPr lang="en-US" sz="1400" i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tweetCount</a:t>
            </a:r>
            <a:endParaRPr lang="en-US" sz="1400" i="1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opTweets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iveCtx.sql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SELECT text,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tweetCount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FROM tweets ORDER BY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tweetCount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					LIMIT 10")</a:t>
            </a:r>
          </a:p>
          <a:p>
            <a:pPr marL="0" indent="0">
              <a:buNone/>
            </a:pPr>
            <a:endParaRPr lang="en-US" sz="16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76437"/>
            <a:ext cx="6692104" cy="24622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/>
              <a:t>sparK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5491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1481" y="2935038"/>
            <a:ext cx="5742175" cy="1821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Using </a:t>
            </a:r>
            <a:r>
              <a:rPr lang="en-US" noProof="0" dirty="0" err="1" smtClean="0"/>
              <a:t>SparkSQL</a:t>
            </a:r>
            <a:r>
              <a:rPr lang="en-US" noProof="0" dirty="0" smtClean="0"/>
              <a:t> in Application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775" y="897311"/>
            <a:ext cx="8243888" cy="2941824"/>
          </a:xfrm>
        </p:spPr>
        <p:txBody>
          <a:bodyPr>
            <a:normAutofit/>
          </a:bodyPr>
          <a:lstStyle/>
          <a:p>
            <a:r>
              <a:rPr lang="en-US" sz="1800" b="1" noProof="0" dirty="0" err="1" smtClean="0"/>
              <a:t>DataFrames</a:t>
            </a:r>
            <a:r>
              <a:rPr lang="en-US" sz="1800" noProof="0" dirty="0" smtClean="0"/>
              <a:t> provide an access to the RDD: </a:t>
            </a:r>
            <a:r>
              <a:rPr lang="en-US" sz="1800" b="1" noProof="0" dirty="0" smtClean="0"/>
              <a:t>.</a:t>
            </a:r>
            <a:r>
              <a:rPr lang="en-US" sz="1800" b="1" noProof="0" dirty="0" err="1" smtClean="0"/>
              <a:t>rdd</a:t>
            </a:r>
            <a:r>
              <a:rPr lang="en-US" sz="1800" b="1" noProof="0" dirty="0" smtClean="0"/>
              <a:t>() </a:t>
            </a:r>
            <a:r>
              <a:rPr lang="en-US" sz="1800" noProof="0" dirty="0" smtClean="0"/>
              <a:t>so you can user RDD transformations like map() or filter. Example access first column:</a:t>
            </a:r>
          </a:p>
          <a:p>
            <a:pPr marL="400050" lvl="1" indent="0">
              <a:buNone/>
            </a:pP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opTweetText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opTweets.rdd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.map(row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ow.getString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0))</a:t>
            </a:r>
          </a:p>
          <a:p>
            <a:r>
              <a:rPr lang="en-US" sz="1800" noProof="0" dirty="0" smtClean="0"/>
              <a:t> With </a:t>
            </a:r>
            <a:r>
              <a:rPr lang="en-US" sz="1800" b="1" noProof="0" dirty="0" err="1" smtClean="0"/>
              <a:t>registerTempTable</a:t>
            </a:r>
            <a:r>
              <a:rPr lang="en-US" sz="1800" b="1" noProof="0" dirty="0" smtClean="0"/>
              <a:t>() </a:t>
            </a:r>
            <a:r>
              <a:rPr lang="en-US" sz="1800" noProof="0" dirty="0" smtClean="0"/>
              <a:t>method, Hive context can query the </a:t>
            </a:r>
            <a:r>
              <a:rPr lang="en-US" sz="1800" noProof="0" dirty="0" err="1" smtClean="0"/>
              <a:t>DataFrame</a:t>
            </a:r>
            <a:r>
              <a:rPr lang="en-US" sz="1800" noProof="0" dirty="0" smtClean="0"/>
              <a:t> (as in the example)</a:t>
            </a:r>
          </a:p>
          <a:p>
            <a:r>
              <a:rPr lang="en-US" sz="1800" noProof="0" dirty="0" smtClean="0"/>
              <a:t>Tables created are local to </a:t>
            </a:r>
            <a:r>
              <a:rPr lang="en-US" sz="1800" noProof="0" dirty="0" err="1" smtClean="0"/>
              <a:t>HiveContext</a:t>
            </a:r>
            <a:r>
              <a:rPr lang="en-US" sz="1800" noProof="0" dirty="0" smtClean="0"/>
              <a:t>. When the app ends the go away</a:t>
            </a:r>
          </a:p>
          <a:p>
            <a:r>
              <a:rPr lang="en-US" sz="1800" i="1" noProof="0" dirty="0" smtClean="0"/>
              <a:t>Basic </a:t>
            </a:r>
            <a:r>
              <a:rPr lang="en-US" sz="1800" i="1" noProof="0" dirty="0" err="1" smtClean="0"/>
              <a:t>DataFrame</a:t>
            </a:r>
            <a:r>
              <a:rPr lang="en-US" sz="1800" i="1" noProof="0" dirty="0" smtClean="0"/>
              <a:t> operations</a:t>
            </a:r>
          </a:p>
          <a:p>
            <a:pPr marL="0" indent="0">
              <a:buNone/>
            </a:pPr>
            <a:endParaRPr lang="en-US" sz="1800" i="1" noProof="0" dirty="0" smtClean="0"/>
          </a:p>
          <a:p>
            <a:pPr marL="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Name, Age {Row(“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ear”,None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, </a:t>
            </a:r>
          </a:p>
          <a:p>
            <a:pPr marL="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ow(“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atabricks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”, 1)}</a:t>
            </a:r>
            <a:endParaRPr lang="en-US" sz="1800" noProof="0" dirty="0" smtClean="0"/>
          </a:p>
          <a:p>
            <a:endParaRPr lang="en-US" sz="18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76437"/>
            <a:ext cx="6692104" cy="24622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/>
              <a:t>sparK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6577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Types stored in </a:t>
            </a:r>
            <a:r>
              <a:rPr lang="en-US" noProof="0" dirty="0" err="1" smtClean="0"/>
              <a:t>DataFrame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264" y="944376"/>
            <a:ext cx="4168634" cy="3362325"/>
          </a:xfrm>
        </p:spPr>
        <p:txBody>
          <a:bodyPr>
            <a:normAutofit/>
          </a:bodyPr>
          <a:lstStyle/>
          <a:p>
            <a:r>
              <a:rPr lang="en-US" sz="2400" noProof="0" dirty="0" smtClean="0"/>
              <a:t>All of these types can also be nested within each other</a:t>
            </a:r>
          </a:p>
          <a:p>
            <a:r>
              <a:rPr lang="en-US" sz="2400" noProof="0" dirty="0" smtClean="0"/>
              <a:t>For example, you can have arrays of </a:t>
            </a:r>
            <a:r>
              <a:rPr lang="en-US" sz="2400" b="1" noProof="0" dirty="0" err="1" smtClean="0"/>
              <a:t>structs</a:t>
            </a:r>
            <a:r>
              <a:rPr lang="en-US" sz="2400" noProof="0" dirty="0" smtClean="0"/>
              <a:t>, or maps that contain </a:t>
            </a:r>
            <a:r>
              <a:rPr lang="en-US" sz="2400" b="1" noProof="0" dirty="0" err="1" smtClean="0"/>
              <a:t>structs</a:t>
            </a:r>
            <a:endParaRPr lang="en-US" sz="2400" b="1" dirty="0"/>
          </a:p>
          <a:p>
            <a:r>
              <a:rPr lang="en-US" sz="2400" b="1" dirty="0" err="1" smtClean="0"/>
              <a:t>structs</a:t>
            </a:r>
            <a:r>
              <a:rPr lang="en-US" sz="2400" dirty="0"/>
              <a:t> </a:t>
            </a:r>
            <a:r>
              <a:rPr lang="en-US" sz="2400" dirty="0" smtClean="0"/>
              <a:t>are </a:t>
            </a:r>
            <a:r>
              <a:rPr lang="en-US" sz="2400" dirty="0"/>
              <a:t>simply represented as other Rows in Spark SQL</a:t>
            </a:r>
            <a:endParaRPr lang="en-US" sz="24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3041" y="797543"/>
            <a:ext cx="2136654" cy="3942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3285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45260"/>
          </a:xfrm>
        </p:spPr>
        <p:txBody>
          <a:bodyPr/>
          <a:lstStyle/>
          <a:p>
            <a:r>
              <a:rPr lang="en-US" sz="2800" noProof="0" dirty="0" smtClean="0"/>
              <a:t>Brief History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gray">
          <a:xfrm>
            <a:off x="290605" y="837174"/>
            <a:ext cx="8678581" cy="39903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dirty="0" smtClean="0"/>
              <a:t>2009</a:t>
            </a:r>
            <a:r>
              <a:rPr lang="en-GB" sz="2000" dirty="0" smtClean="0"/>
              <a:t> - Initially started at UC Berkeley </a:t>
            </a:r>
            <a:r>
              <a:rPr lang="en-GB" sz="2000" dirty="0" err="1" smtClean="0"/>
              <a:t>AMPLab</a:t>
            </a:r>
            <a:endParaRPr lang="en-GB" sz="2000" dirty="0" smtClean="0"/>
          </a:p>
          <a:p>
            <a:pPr lvl="1"/>
            <a:r>
              <a:rPr lang="en-GB" sz="1800" u="sng" dirty="0" smtClean="0"/>
              <a:t>https://amplab.cs.berkeley.edu/</a:t>
            </a:r>
            <a:endParaRPr lang="en-GB" sz="1800" dirty="0" smtClean="0"/>
          </a:p>
          <a:p>
            <a:r>
              <a:rPr lang="en-GB" sz="2000" b="1" dirty="0" smtClean="0"/>
              <a:t>2010</a:t>
            </a:r>
            <a:r>
              <a:rPr lang="en-GB" sz="2000" dirty="0" smtClean="0"/>
              <a:t> - Open sourced under a BSD license</a:t>
            </a:r>
          </a:p>
          <a:p>
            <a:r>
              <a:rPr lang="en-GB" sz="2000" b="1" dirty="0" smtClean="0"/>
              <a:t>2013</a:t>
            </a:r>
            <a:r>
              <a:rPr lang="en-GB" sz="2000" dirty="0" smtClean="0"/>
              <a:t> - Donated to the Apache Software Foundation</a:t>
            </a:r>
          </a:p>
          <a:p>
            <a:pPr lvl="1"/>
            <a:r>
              <a:rPr lang="en-GB" sz="1800" dirty="0" smtClean="0"/>
              <a:t>Apache 2.0 license</a:t>
            </a:r>
          </a:p>
          <a:p>
            <a:r>
              <a:rPr lang="en-GB" sz="2000" b="1" dirty="0" smtClean="0"/>
              <a:t>Feb 2014 </a:t>
            </a:r>
            <a:r>
              <a:rPr lang="en-GB" sz="2000" dirty="0" smtClean="0"/>
              <a:t>- Became an Apache Top-Level Project</a:t>
            </a:r>
          </a:p>
          <a:p>
            <a:r>
              <a:rPr lang="en-GB" sz="2000" b="1" dirty="0" smtClean="0"/>
              <a:t>Nov 2014 </a:t>
            </a:r>
            <a:r>
              <a:rPr lang="en-GB" sz="2000" dirty="0" smtClean="0"/>
              <a:t>- </a:t>
            </a:r>
            <a:r>
              <a:rPr lang="en-GB" sz="2000" dirty="0" err="1" smtClean="0"/>
              <a:t>Databricks</a:t>
            </a:r>
            <a:r>
              <a:rPr lang="en-GB" sz="2000" dirty="0" smtClean="0"/>
              <a:t> set a new world record in large scale sorting using Spark</a:t>
            </a:r>
          </a:p>
          <a:p>
            <a:pPr lvl="1"/>
            <a:r>
              <a:rPr lang="en-GB" sz="1800" dirty="0" smtClean="0"/>
              <a:t>100TB (1 trillion records) sorted in 23 minutes, 206 EC2 machines</a:t>
            </a:r>
          </a:p>
          <a:p>
            <a:pPr lvl="1"/>
            <a:r>
              <a:rPr lang="en-GB" sz="1800" dirty="0" smtClean="0"/>
              <a:t>Previously: Hadoop MapReduce, 72 minutes, 2100 machines</a:t>
            </a:r>
          </a:p>
          <a:p>
            <a:pPr lvl="1"/>
            <a:r>
              <a:rPr lang="de-DE" sz="1800" dirty="0" smtClean="0"/>
              <a:t>3X faster, 10X fewer machines</a:t>
            </a:r>
          </a:p>
          <a:p>
            <a:pPr lvl="1"/>
            <a:r>
              <a:rPr lang="en-GB" sz="1800" dirty="0" smtClean="0"/>
              <a:t>Sorting on HDFS (disk), not using in-memory cache!</a:t>
            </a:r>
          </a:p>
          <a:p>
            <a:pPr marL="0" indent="0">
              <a:buNone/>
            </a:pPr>
            <a:endParaRPr lang="en-GB" sz="2000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5224" y="858073"/>
            <a:ext cx="2363362" cy="18649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52513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aching in Spark SQL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90587"/>
            <a:ext cx="8243888" cy="3647795"/>
          </a:xfrm>
        </p:spPr>
        <p:txBody>
          <a:bodyPr>
            <a:noAutofit/>
          </a:bodyPr>
          <a:lstStyle/>
          <a:p>
            <a:r>
              <a:rPr lang="en-US" sz="2400" noProof="0" dirty="0" smtClean="0"/>
              <a:t>Caching in Spark SQL works different:</a:t>
            </a:r>
          </a:p>
          <a:p>
            <a:pPr lvl="1"/>
            <a:r>
              <a:rPr lang="en-US" sz="2000" noProof="0" dirty="0" smtClean="0"/>
              <a:t>For an efficient memory use</a:t>
            </a:r>
          </a:p>
          <a:p>
            <a:pPr marL="914400" lvl="2" indent="0">
              <a:buNone/>
            </a:pP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iveCtx.cacheTable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ableName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)</a:t>
            </a:r>
          </a:p>
          <a:p>
            <a:pPr lvl="1"/>
            <a:r>
              <a:rPr lang="en-US" sz="2000" dirty="0" smtClean="0"/>
              <a:t>Memory c</a:t>
            </a:r>
            <a:r>
              <a:rPr lang="en-US" sz="2000" noProof="0" dirty="0" smtClean="0"/>
              <a:t>ache can be also achieved using </a:t>
            </a:r>
            <a:r>
              <a:rPr lang="en-US" sz="2000" noProof="0" dirty="0" err="1" smtClean="0"/>
              <a:t>HiveSQL</a:t>
            </a:r>
            <a:r>
              <a:rPr lang="en-US" sz="2000" noProof="0" dirty="0" smtClean="0"/>
              <a:t> statements</a:t>
            </a:r>
          </a:p>
          <a:p>
            <a:pPr marL="914400" lvl="2" indent="0">
              <a:buNone/>
            </a:pP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CHE TABLE 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ableName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or UNCACHE TABLE 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ableName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</a:p>
          <a:p>
            <a:r>
              <a:rPr lang="en-US" sz="2400" noProof="0" dirty="0" smtClean="0"/>
              <a:t>When caching a table, Spark SQL represents the data in an </a:t>
            </a:r>
            <a:r>
              <a:rPr lang="en-US" sz="2400" b="1" noProof="0" dirty="0" smtClean="0"/>
              <a:t>in-memory columnar format</a:t>
            </a:r>
            <a:r>
              <a:rPr lang="en-US" sz="2400" noProof="0" dirty="0" smtClean="0"/>
              <a:t>. </a:t>
            </a:r>
          </a:p>
          <a:p>
            <a:r>
              <a:rPr lang="en-US" sz="2400" noProof="0" dirty="0" smtClean="0"/>
              <a:t>The </a:t>
            </a:r>
            <a:r>
              <a:rPr lang="en-US" sz="2400" b="1" noProof="0" dirty="0" smtClean="0"/>
              <a:t>cached table </a:t>
            </a:r>
            <a:r>
              <a:rPr lang="en-US" sz="2400" noProof="0" dirty="0" smtClean="0"/>
              <a:t>will </a:t>
            </a:r>
            <a:r>
              <a:rPr lang="en-US" sz="2400" b="1" noProof="0" dirty="0" smtClean="0"/>
              <a:t>remain in memory </a:t>
            </a:r>
            <a:r>
              <a:rPr lang="en-US" sz="2400" b="1" noProof="0" dirty="0" smtClean="0">
                <a:solidFill>
                  <a:srgbClr val="C00000"/>
                </a:solidFill>
              </a:rPr>
              <a:t>only</a:t>
            </a:r>
            <a:r>
              <a:rPr lang="en-US" sz="2400" noProof="0" dirty="0" smtClean="0"/>
              <a:t> for the </a:t>
            </a:r>
            <a:r>
              <a:rPr lang="en-US" sz="2400" b="1" noProof="0" dirty="0" smtClean="0"/>
              <a:t>life</a:t>
            </a:r>
            <a:r>
              <a:rPr lang="en-US" sz="2400" noProof="0" dirty="0" smtClean="0"/>
              <a:t> of our driver program.</a:t>
            </a:r>
            <a:endParaRPr lang="en-US" sz="24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914400" lvl="2" indent="0">
              <a:buNone/>
            </a:pPr>
            <a:endParaRPr lang="en-US" sz="20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3977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Loading and Saving Data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24205"/>
            <a:ext cx="8243888" cy="3362325"/>
          </a:xfrm>
        </p:spPr>
        <p:txBody>
          <a:bodyPr>
            <a:normAutofit/>
          </a:bodyPr>
          <a:lstStyle/>
          <a:p>
            <a:r>
              <a:rPr lang="en-US" sz="2800" noProof="0" dirty="0" smtClean="0"/>
              <a:t>In addition to Hive, JSON and Parquet, Spark SQL has a </a:t>
            </a:r>
            <a:r>
              <a:rPr lang="en-US" sz="2800" b="1" noProof="0" dirty="0" err="1" smtClean="0"/>
              <a:t>DataSource</a:t>
            </a:r>
            <a:r>
              <a:rPr lang="en-US" sz="2800" b="1" noProof="0" dirty="0" smtClean="0"/>
              <a:t> </a:t>
            </a:r>
            <a:r>
              <a:rPr lang="en-US" sz="2800" b="1" noProof="0" dirty="0" err="1" smtClean="0"/>
              <a:t>Api</a:t>
            </a:r>
            <a:r>
              <a:rPr lang="en-US" sz="2800" b="1" noProof="0" dirty="0" smtClean="0"/>
              <a:t> </a:t>
            </a:r>
            <a:r>
              <a:rPr lang="en-US" sz="2800" noProof="0" dirty="0" smtClean="0"/>
              <a:t>for integration </a:t>
            </a:r>
          </a:p>
          <a:p>
            <a:r>
              <a:rPr lang="en-US" sz="2800" noProof="0" dirty="0" smtClean="0"/>
              <a:t>Some notable implementations include Avro, </a:t>
            </a:r>
            <a:r>
              <a:rPr lang="en-US" sz="2800" noProof="0" dirty="0" err="1" smtClean="0"/>
              <a:t>Hbase</a:t>
            </a:r>
            <a:r>
              <a:rPr lang="en-US" sz="2800" noProof="0" dirty="0" smtClean="0"/>
              <a:t>, ES, Cassandra…</a:t>
            </a:r>
          </a:p>
          <a:p>
            <a:r>
              <a:rPr lang="en-US" sz="2800" noProof="0" dirty="0" smtClean="0"/>
              <a:t>It is possible </a:t>
            </a:r>
            <a:r>
              <a:rPr lang="en-US" sz="2800" b="1" noProof="0" dirty="0" smtClean="0"/>
              <a:t>convert a regular RDDs to </a:t>
            </a:r>
            <a:r>
              <a:rPr lang="en-US" sz="2800" b="1" noProof="0" dirty="0" err="1" smtClean="0"/>
              <a:t>DataFrames</a:t>
            </a:r>
            <a:r>
              <a:rPr lang="en-US" sz="2800" b="1" noProof="0" dirty="0" smtClean="0"/>
              <a:t> </a:t>
            </a:r>
            <a:r>
              <a:rPr lang="en-US" sz="2800" noProof="0" dirty="0" smtClean="0"/>
              <a:t>by assigning them a schema</a:t>
            </a:r>
            <a:endParaRPr lang="en-US" sz="28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9442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dirty="0" smtClean="0"/>
              <a:t>Exercis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sz="2400" b="1" noProof="0" dirty="0" smtClean="0"/>
              <a:t>Exercise 13: Data Mining Using </a:t>
            </a:r>
            <a:r>
              <a:rPr lang="en-US" sz="2400" b="1" noProof="0" dirty="0" err="1" smtClean="0"/>
              <a:t>SparkSQL</a:t>
            </a:r>
            <a:endParaRPr lang="en-US" sz="2400" b="1" noProof="0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7424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Loading and Saving Data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70417"/>
            <a:ext cx="8236369" cy="3883118"/>
          </a:xfrm>
        </p:spPr>
        <p:txBody>
          <a:bodyPr>
            <a:noAutofit/>
          </a:bodyPr>
          <a:lstStyle/>
          <a:p>
            <a:r>
              <a:rPr lang="en-US" sz="2000" noProof="0" dirty="0" smtClean="0"/>
              <a:t>Apache Hive (seen before):</a:t>
            </a:r>
          </a:p>
          <a:p>
            <a:pPr marL="400050" lvl="1" indent="0">
              <a:buNone/>
            </a:pPr>
            <a:r>
              <a:rPr lang="en-US" sz="1800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en-US" sz="1800" i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org.apache.spark.sql.hive.HiveContext</a:t>
            </a:r>
            <a:endParaRPr lang="en-US" sz="1800" i="1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800" i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800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i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iveCtx</a:t>
            </a:r>
            <a:r>
              <a:rPr lang="en-US" sz="1800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new </a:t>
            </a:r>
            <a:r>
              <a:rPr lang="en-US" sz="1800" i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iveContext</a:t>
            </a:r>
            <a:r>
              <a:rPr lang="en-US" sz="1800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800" i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</a:t>
            </a:r>
            <a:r>
              <a:rPr lang="en-US" sz="1800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400050" lvl="1" indent="0">
              <a:buNone/>
            </a:pPr>
            <a:r>
              <a:rPr lang="en-US" sz="1800" i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800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rows = </a:t>
            </a:r>
            <a:r>
              <a:rPr lang="en-US" sz="1800" i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iveCtx.sql</a:t>
            </a:r>
            <a:r>
              <a:rPr lang="en-US" sz="1800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SELECT key, value FROM </a:t>
            </a:r>
            <a:r>
              <a:rPr lang="en-US" sz="1800" i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table</a:t>
            </a:r>
            <a:r>
              <a:rPr lang="en-US" sz="1800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)</a:t>
            </a:r>
          </a:p>
          <a:p>
            <a:pPr marL="400050" lvl="1" indent="0">
              <a:buNone/>
            </a:pPr>
            <a:r>
              <a:rPr lang="en-US" sz="1800" i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800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keys = </a:t>
            </a:r>
            <a:r>
              <a:rPr lang="en-US" sz="1800" i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ows.map</a:t>
            </a:r>
            <a:r>
              <a:rPr lang="en-US" sz="1800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row =&gt; </a:t>
            </a:r>
            <a:r>
              <a:rPr lang="en-US" sz="1800" i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ow.getInt</a:t>
            </a:r>
            <a:r>
              <a:rPr lang="en-US" sz="1800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0)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9194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Loading and Saving Data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7917" y="870417"/>
            <a:ext cx="8901954" cy="3883118"/>
          </a:xfrm>
        </p:spPr>
        <p:txBody>
          <a:bodyPr>
            <a:noAutofit/>
          </a:bodyPr>
          <a:lstStyle/>
          <a:p>
            <a:r>
              <a:rPr lang="en-US" sz="1800" noProof="0" dirty="0" smtClean="0"/>
              <a:t>Parquet, column-oriented storage formats can store records with nested fields efficiently</a:t>
            </a:r>
          </a:p>
          <a:p>
            <a:pPr marL="400050" lvl="1" indent="0">
              <a:buNone/>
            </a:pPr>
            <a:r>
              <a:rPr lang="en-US" sz="1600" b="1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Load some data in from a Parquet file with field's name and </a:t>
            </a:r>
            <a:r>
              <a:rPr lang="en-US" sz="1600" b="1" i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avouriteAnimal</a:t>
            </a:r>
            <a:endParaRPr lang="en-US" sz="1600" b="1" i="1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ows 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iveCtx.load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arquetFil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"parquet")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names 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ows.map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row =&gt; row.name)</a:t>
            </a:r>
          </a:p>
          <a:p>
            <a:pPr marL="400050" lvl="1" indent="0">
              <a:buNone/>
            </a:pP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("Everyone“)</a:t>
            </a:r>
          </a:p>
          <a:p>
            <a:pPr marL="400050" lvl="1" indent="0">
              <a:buNone/>
            </a:pP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ames.collec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oreach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400050" lvl="1" indent="0">
              <a:buNone/>
            </a:pP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b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ows.registerTempTabl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people") </a:t>
            </a:r>
            <a:r>
              <a:rPr lang="en-US" sz="1600" b="1" i="1" dirty="0">
                <a:latin typeface="Courier New" panose="02070309020205020404" pitchFamily="49" charset="0"/>
                <a:cs typeface="Courier New" panose="02070309020205020404" pitchFamily="49" charset="0"/>
              </a:rPr>
              <a:t>// Find the panda </a:t>
            </a:r>
            <a:r>
              <a:rPr lang="en-US" sz="1600" b="1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lovers</a:t>
            </a:r>
            <a:endParaRPr lang="en-US" sz="1600" b="1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andaFriends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iveCtx.sq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SELECT name FROM people WHERE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avouriteAnim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‘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panda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’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)</a:t>
            </a:r>
          </a:p>
          <a:p>
            <a:pPr marL="400050" lvl="1" indent="0">
              <a:buNone/>
            </a:pP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("Panda friends“)</a:t>
            </a:r>
          </a:p>
          <a:p>
            <a:pPr marL="400050" lvl="1" indent="0">
              <a:buNone/>
            </a:pP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andaFriends.map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row =&gt; row.name).collect().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oreach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400050" lvl="1" indent="0">
              <a:buNone/>
            </a:pP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andaFriends.sav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dfs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//...", "parquet")</a:t>
            </a:r>
            <a:endParaRPr lang="en-US" sz="1600" noProof="0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3012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Loading and Saving Data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sz="2000" b="1" noProof="0" dirty="0" smtClean="0"/>
              <a:t>Parquet</a:t>
            </a:r>
            <a:r>
              <a:rPr lang="en-US" sz="2000" noProof="0" dirty="0" smtClean="0"/>
              <a:t>, column-oriented storage formats can store records with nested fields efficiently</a:t>
            </a:r>
          </a:p>
          <a:p>
            <a:pPr marL="179388" lvl="1" indent="-179388">
              <a:spcBef>
                <a:spcPts val="600"/>
              </a:spcBef>
            </a:pPr>
            <a:r>
              <a:rPr lang="en-US" sz="2000" b="1" dirty="0" smtClean="0">
                <a:cs typeface="ＭＳ Ｐゴシック" charset="0"/>
              </a:rPr>
              <a:t>Avro</a:t>
            </a:r>
            <a:r>
              <a:rPr lang="en-US" sz="2000" dirty="0" smtClean="0">
                <a:cs typeface="ＭＳ Ｐゴシック" charset="0"/>
              </a:rPr>
              <a:t> a data serialization system which relies on schemas</a:t>
            </a:r>
          </a:p>
          <a:p>
            <a:pPr marL="357188" lvl="2" indent="-179388">
              <a:spcBef>
                <a:spcPts val="600"/>
              </a:spcBef>
            </a:pPr>
            <a:r>
              <a:rPr lang="en-US" sz="2000" noProof="0" dirty="0" smtClean="0"/>
              <a:t>Include in </a:t>
            </a:r>
            <a:r>
              <a:rPr lang="en-US" sz="2000" noProof="0" dirty="0" err="1" smtClean="0"/>
              <a:t>sbt</a:t>
            </a:r>
            <a:r>
              <a:rPr lang="en-US" sz="2000" noProof="0" dirty="0" smtClean="0"/>
              <a:t> project:  </a:t>
            </a:r>
          </a:p>
          <a:p>
            <a:pPr marL="177800" lvl="2" indent="0">
              <a:spcBef>
                <a:spcPts val="600"/>
              </a:spcBef>
              <a:buNone/>
            </a:pPr>
            <a:r>
              <a:rPr 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braryDependenicies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+= "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.databricks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 %% 	"spark-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vro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 % 	"2.0.1" </a:t>
            </a:r>
          </a:p>
          <a:p>
            <a:pPr marL="357188" indent="-176213"/>
            <a:r>
              <a:rPr lang="en-US" sz="2000" noProof="0" dirty="0" smtClean="0"/>
              <a:t>In previous example, replace  “parquet” by “</a:t>
            </a:r>
            <a:r>
              <a:rPr lang="en-US" sz="2000" noProof="0" dirty="0" err="1" smtClean="0"/>
              <a:t>com.databricks.spark.avro</a:t>
            </a:r>
            <a:r>
              <a:rPr lang="en-US" sz="2000" noProof="0" dirty="0" smtClean="0"/>
              <a:t>”</a:t>
            </a:r>
          </a:p>
          <a:p>
            <a:pPr marL="400050" lvl="1" indent="0">
              <a:buNone/>
            </a:pPr>
            <a:endParaRPr lang="en-US" sz="18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280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Loading and Saving Data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3905" y="880221"/>
            <a:ext cx="8243888" cy="3822607"/>
          </a:xfrm>
        </p:spPr>
        <p:txBody>
          <a:bodyPr>
            <a:normAutofit fontScale="92500" lnSpcReduction="10000"/>
          </a:bodyPr>
          <a:lstStyle/>
          <a:p>
            <a:r>
              <a:rPr lang="en-US" sz="1900" noProof="0" dirty="0" smtClean="0"/>
              <a:t>JSON: Spark SQL can infer the schema by scanning the file and let you access fields by name</a:t>
            </a:r>
            <a:endParaRPr lang="en-US" noProof="0" dirty="0" smtClean="0"/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name"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"Holden"}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ame"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:"Sparky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The Bear",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ovesPandas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knows"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{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friends"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["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olde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]}}</a:t>
            </a:r>
          </a:p>
          <a:p>
            <a:pPr marL="400050" lvl="1" indent="0">
              <a:buNone/>
            </a:pPr>
            <a:endParaRPr lang="en-US" sz="1600" b="1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nput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iveCtx.jsonFil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putFil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400050" lvl="1" indent="0">
              <a:buNone/>
            </a:pP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put.printShema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oot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-- knows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ruc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ullabl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true)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|-- friends: array 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ullabl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true)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| |-- element: string 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ntainsNul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false)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--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ovesPandas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lea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ullabl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true)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-- name: string 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ullabl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true)</a:t>
            </a:r>
          </a:p>
          <a:p>
            <a:pPr marL="180975" indent="-180975"/>
            <a:r>
              <a:rPr lang="en-US" sz="2100" dirty="0" smtClean="0">
                <a:solidFill>
                  <a:srgbClr val="213E7F"/>
                </a:solidFill>
              </a:rPr>
              <a:t>Access with SQL</a:t>
            </a:r>
            <a:endParaRPr lang="en-US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elect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knows.friends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0) from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able_inpu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limit 1;</a:t>
            </a:r>
            <a:endParaRPr lang="en-US" sz="16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441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Loading and Saving Data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80783"/>
            <a:ext cx="8565822" cy="3845858"/>
          </a:xfrm>
        </p:spPr>
        <p:txBody>
          <a:bodyPr>
            <a:normAutofit/>
          </a:bodyPr>
          <a:lstStyle/>
          <a:p>
            <a:r>
              <a:rPr lang="en-US" sz="1800" noProof="0" dirty="0" smtClean="0"/>
              <a:t>From RDDs: Any RDD with case classes is implicitly converted into a </a:t>
            </a:r>
            <a:r>
              <a:rPr lang="en-US" sz="1800" noProof="0" dirty="0" err="1" smtClean="0"/>
              <a:t>DataFrame</a:t>
            </a:r>
            <a:endParaRPr lang="en-US" sz="1800" noProof="0" dirty="0" smtClean="0"/>
          </a:p>
          <a:p>
            <a:pPr marL="400050" lvl="1" indent="0">
              <a:buNone/>
            </a:pP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 class 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appyPerso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handle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String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avouriteBeverage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String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400050" lvl="1" indent="0">
              <a:buNone/>
            </a:pPr>
            <a:r>
              <a:rPr lang="en-US" sz="1600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Create a person and turn it into a Schema RDD</a:t>
            </a:r>
          </a:p>
          <a:p>
            <a:pPr marL="400050" lvl="1" indent="0">
              <a:buNone/>
            </a:pP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appyPeopleRDD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paralleliz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Lis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appyPerso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olde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, "coffee")))</a:t>
            </a:r>
          </a:p>
          <a:p>
            <a:pPr marL="400050" lvl="1" indent="0">
              <a:buNone/>
            </a:pPr>
            <a:r>
              <a:rPr lang="en-US" sz="1600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Note: there is an implicit conversion</a:t>
            </a:r>
          </a:p>
          <a:p>
            <a:pPr marL="400050" lvl="1" indent="0">
              <a:buNone/>
            </a:pPr>
            <a:r>
              <a:rPr lang="en-US" sz="1600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that is equivalent to</a:t>
            </a:r>
          </a:p>
          <a:p>
            <a:pPr marL="400050" lvl="1" indent="0">
              <a:buNone/>
            </a:pPr>
            <a:r>
              <a:rPr lang="en-US" sz="1600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en-US" sz="1600" i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qlCtx.createDataFrame</a:t>
            </a:r>
            <a:r>
              <a:rPr lang="en-US" sz="1600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i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appyPeopleRDD</a:t>
            </a:r>
            <a:r>
              <a:rPr lang="en-US" sz="1600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400050" lvl="1" indent="0">
              <a:buNone/>
            </a:pP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appyPeopleRDD.registerTempTabl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appy_peopl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)</a:t>
            </a:r>
          </a:p>
          <a:p>
            <a:r>
              <a:rPr lang="en-US" sz="1800" dirty="0"/>
              <a:t>Y</a:t>
            </a:r>
            <a:r>
              <a:rPr lang="en-US" sz="1800" noProof="0" dirty="0" err="1" smtClean="0"/>
              <a:t>ou</a:t>
            </a:r>
            <a:r>
              <a:rPr lang="en-US" sz="1800" noProof="0" dirty="0" smtClean="0"/>
              <a:t> can also use .</a:t>
            </a:r>
            <a:r>
              <a:rPr lang="en-US" sz="1800" noProof="0" dirty="0" err="1" smtClean="0"/>
              <a:t>toDF</a:t>
            </a:r>
            <a:endParaRPr lang="en-US" sz="1800" noProof="0" dirty="0" smtClean="0"/>
          </a:p>
          <a:p>
            <a:pPr marL="400050" lvl="1" indent="0">
              <a:buNone/>
            </a:pP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f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paralleliz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Lis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appyPerso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olde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, "coffee"))).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oDF</a:t>
            </a:r>
            <a:endParaRPr lang="en-US" sz="16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8689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JDBC /ODBC Server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67335"/>
            <a:ext cx="8243888" cy="3614177"/>
          </a:xfrm>
        </p:spPr>
        <p:txBody>
          <a:bodyPr>
            <a:normAutofit/>
          </a:bodyPr>
          <a:lstStyle/>
          <a:p>
            <a:r>
              <a:rPr lang="en-US" sz="2400" noProof="0" dirty="0" smtClean="0"/>
              <a:t>Useful for connection BI tools to Spark Cluster</a:t>
            </a:r>
          </a:p>
          <a:p>
            <a:r>
              <a:rPr lang="en-US" sz="2400" noProof="0" dirty="0" smtClean="0"/>
              <a:t>JDBC server runs a standalone Spark driver that can be shared with multiple clients</a:t>
            </a:r>
          </a:p>
          <a:p>
            <a:r>
              <a:rPr lang="en-US" sz="2400" noProof="0" dirty="0" smtClean="0"/>
              <a:t>JDBC server corresponds to HiveServer2 in Hive (is a Thrift server) listen in port</a:t>
            </a:r>
            <a:r>
              <a:rPr lang="en-US" sz="2400" b="1" noProof="0" dirty="0" smtClean="0"/>
              <a:t>:10000</a:t>
            </a:r>
            <a:endParaRPr lang="en-US" sz="2400" noProof="0" dirty="0" smtClean="0"/>
          </a:p>
          <a:p>
            <a:pPr marL="457200" lvl="1" indent="0">
              <a:buNone/>
            </a:pP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/sbin/start-thriftserver.sh --master 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parkMaster</a:t>
            </a:r>
            <a:endParaRPr lang="en-US" sz="20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80975" indent="-180975"/>
            <a:r>
              <a:rPr lang="en-US" sz="2400" noProof="0" dirty="0" smtClean="0">
                <a:cs typeface="ＭＳ Ｐゴシック" charset="0"/>
              </a:rPr>
              <a:t>The Server can share cached tables between multiples programs since is a single driver program </a:t>
            </a:r>
          </a:p>
          <a:p>
            <a:pPr marL="0" indent="0">
              <a:buNone/>
            </a:pPr>
            <a:endParaRPr lang="en-US" sz="24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9711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noProof="0" dirty="0" smtClean="0"/>
              <a:t>Working with Beelin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264" y="870416"/>
            <a:ext cx="8243888" cy="3910013"/>
          </a:xfrm>
        </p:spPr>
        <p:txBody>
          <a:bodyPr>
            <a:noAutofit/>
          </a:bodyPr>
          <a:lstStyle/>
          <a:p>
            <a:r>
              <a:rPr lang="en-US" sz="2000" noProof="0" dirty="0" smtClean="0"/>
              <a:t>Beeline: SQL shell client can connect to the server via JDBC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park$ ./bin/beeline –u jdbc:hive2://localhost:10000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0: jdbc:hive2://localhost:10000&gt; show tables;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+---------+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result  |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+---------+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pokes   |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+---------+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1 row selected (1.182 seconds)</a:t>
            </a:r>
            <a:endParaRPr lang="en-US" sz="1600" noProof="0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318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6545" y="907678"/>
            <a:ext cx="5212856" cy="3399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18008"/>
          </a:xfrm>
        </p:spPr>
        <p:txBody>
          <a:bodyPr/>
          <a:lstStyle/>
          <a:p>
            <a:r>
              <a:rPr lang="en-US" sz="2800" noProof="0" dirty="0" smtClean="0"/>
              <a:t>Problems with Hadoop Map-Reduce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230095" y="887506"/>
            <a:ext cx="3851087" cy="3660870"/>
          </a:xfrm>
        </p:spPr>
        <p:txBody>
          <a:bodyPr>
            <a:normAutofit/>
          </a:bodyPr>
          <a:lstStyle/>
          <a:p>
            <a:r>
              <a:rPr lang="en-US" sz="1800" b="1" noProof="0" dirty="0" smtClean="0"/>
              <a:t>Batch oriented</a:t>
            </a:r>
          </a:p>
          <a:p>
            <a:pPr lvl="1"/>
            <a:r>
              <a:rPr lang="en-US" sz="1600" noProof="0" dirty="0" smtClean="0"/>
              <a:t>So, Hive, Pig and all MR-based systems too</a:t>
            </a:r>
          </a:p>
          <a:p>
            <a:pPr lvl="1"/>
            <a:r>
              <a:rPr lang="en-US" sz="1600" noProof="0" dirty="0" smtClean="0"/>
              <a:t>Great throughput but high latency</a:t>
            </a:r>
          </a:p>
          <a:p>
            <a:pPr lvl="1"/>
            <a:r>
              <a:rPr lang="en-US" sz="1600" noProof="0" dirty="0" smtClean="0"/>
              <a:t>Not for BI tools</a:t>
            </a:r>
          </a:p>
          <a:p>
            <a:pPr lvl="1"/>
            <a:r>
              <a:rPr lang="en-US" sz="1600" noProof="0" dirty="0" smtClean="0"/>
              <a:t>Not for real-time (stream) processing</a:t>
            </a:r>
          </a:p>
          <a:p>
            <a:r>
              <a:rPr lang="en-US" sz="1800" b="1" noProof="0" dirty="0" smtClean="0"/>
              <a:t>Programming model </a:t>
            </a:r>
            <a:r>
              <a:rPr lang="en-US" sz="1800" noProof="0" dirty="0" smtClean="0"/>
              <a:t>not good for iterative programming (</a:t>
            </a:r>
            <a:r>
              <a:rPr lang="en-US" sz="1800" i="1" noProof="0" dirty="0" smtClean="0"/>
              <a:t>e.g.</a:t>
            </a:r>
            <a:r>
              <a:rPr lang="en-US" sz="1800" noProof="0" dirty="0" smtClean="0"/>
              <a:t> machine learning)</a:t>
            </a:r>
          </a:p>
          <a:p>
            <a:pPr lvl="1"/>
            <a:r>
              <a:rPr lang="en-US" sz="1600" noProof="0" dirty="0" smtClean="0"/>
              <a:t>Forces to concatenate multiple jobs</a:t>
            </a:r>
          </a:p>
          <a:p>
            <a:pPr lvl="1"/>
            <a:r>
              <a:rPr lang="en-US" sz="1600" noProof="0" dirty="0" smtClean="0"/>
              <a:t>External orchestration</a:t>
            </a:r>
          </a:p>
          <a:p>
            <a:pPr lvl="1"/>
            <a:r>
              <a:rPr lang="en-US" sz="1600" noProof="0" dirty="0" smtClean="0"/>
              <a:t>Each job flushes to disk</a:t>
            </a:r>
          </a:p>
          <a:p>
            <a:pPr lvl="1"/>
            <a:r>
              <a:rPr lang="en-US" sz="1600" noProof="0" dirty="0" smtClean="0"/>
              <a:t>Data sharing requires external storage</a:t>
            </a:r>
          </a:p>
          <a:p>
            <a:endParaRPr lang="en-US" sz="1800" noProof="0" dirty="0" smtClean="0"/>
          </a:p>
          <a:p>
            <a:endParaRPr lang="en-US" sz="1800" noProof="0" dirty="0"/>
          </a:p>
        </p:txBody>
      </p:sp>
    </p:spTree>
    <p:extLst>
      <p:ext uri="{BB962C8B-B14F-4D97-AF65-F5344CB8AC3E}">
        <p14:creationId xmlns:p14="http://schemas.microsoft.com/office/powerpoint/2010/main" val="3469981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noProof="0" dirty="0" smtClean="0"/>
              <a:t>Working with Beelin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264" y="870416"/>
            <a:ext cx="8243888" cy="3849502"/>
          </a:xfrm>
        </p:spPr>
        <p:txBody>
          <a:bodyPr>
            <a:noAutofit/>
          </a:bodyPr>
          <a:lstStyle/>
          <a:p>
            <a:r>
              <a:rPr lang="en-US" sz="1800" noProof="0" dirty="0" smtClean="0"/>
              <a:t>You can use standard </a:t>
            </a:r>
            <a:r>
              <a:rPr lang="en-US" sz="1800" noProof="0" dirty="0" err="1" smtClean="0"/>
              <a:t>HiveQL</a:t>
            </a:r>
            <a:endParaRPr lang="en-US" sz="1800" noProof="0" dirty="0" smtClean="0"/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CREATE TABLE IF NOT EXISTS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table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(key INT, value STRING)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OW FORMAT DELIMITED FIELDS TERMINATED BY ',';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LOAD DATA LOCAL INPATH 'int_string.csv'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NTO TABLE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table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SHOW TABLES;</a:t>
            </a:r>
          </a:p>
          <a:p>
            <a:pPr marL="400050" lvl="1" indent="0">
              <a:buNone/>
            </a:pP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table</a:t>
            </a:r>
            <a:endParaRPr lang="en-US" sz="14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80975" lvl="1"/>
            <a:r>
              <a:rPr lang="en-US" sz="1800" noProof="0" dirty="0" smtClean="0">
                <a:cs typeface="ＭＳ Ｐゴシック" charset="0"/>
              </a:rPr>
              <a:t>To See the query plan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park-</a:t>
            </a: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ql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EXPLAIN SELECT 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FROM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table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where key 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1;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= Physical Plan ==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Filter (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#16 = 1)</a:t>
            </a:r>
          </a:p>
          <a:p>
            <a:pPr marL="400050" lvl="1" indent="0">
              <a:buNone/>
            </a:pP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iveTableScan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[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key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#16,value#17], (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etastoreRelation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ault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table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None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,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None</a:t>
            </a:r>
          </a:p>
          <a:p>
            <a:pPr marL="180975" lvl="1"/>
            <a:r>
              <a:rPr lang="en-US" sz="1800" noProof="0" dirty="0" smtClean="0">
                <a:cs typeface="ＭＳ Ｐゴシック" charset="0"/>
              </a:rPr>
              <a:t>Spark SQL also support a simple shell for local development 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/bin/spark-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ql</a:t>
            </a:r>
            <a:endParaRPr lang="en-US" sz="14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endParaRPr lang="en-US" sz="1050" b="1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2790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Spark SQL UDF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6" y="890587"/>
            <a:ext cx="8532205" cy="3910013"/>
          </a:xfrm>
        </p:spPr>
        <p:txBody>
          <a:bodyPr>
            <a:normAutofit/>
          </a:bodyPr>
          <a:lstStyle/>
          <a:p>
            <a:r>
              <a:rPr lang="en-US" sz="1800" noProof="0" dirty="0" smtClean="0"/>
              <a:t>UDFs allow registering custom functions to be called within SQL</a:t>
            </a:r>
          </a:p>
          <a:p>
            <a:r>
              <a:rPr lang="en-US" sz="1800" noProof="0" dirty="0" smtClean="0"/>
              <a:t>Spark SQL offers an easy method to register UDFs</a:t>
            </a:r>
          </a:p>
          <a:p>
            <a:pPr marL="400050" lvl="1" indent="0">
              <a:buNone/>
            </a:pP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iveCtx.udf.register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rLenScala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, (</a:t>
            </a:r>
            <a:r>
              <a:rPr lang="en-US" sz="20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_: String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.length)</a:t>
            </a:r>
          </a:p>
          <a:p>
            <a:pPr marL="400050" lvl="1" indent="0">
              <a:buNone/>
            </a:pPr>
            <a:r>
              <a:rPr lang="en-US" sz="20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0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weetLength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0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iveCtx.sql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SELECT 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rLenScala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'tweet') FROM tweets LIMIT 10")</a:t>
            </a:r>
          </a:p>
          <a:p>
            <a:pPr marL="180975" lvl="1"/>
            <a:r>
              <a:rPr lang="en-US" sz="1800" noProof="0" dirty="0" smtClean="0">
                <a:cs typeface="ＭＳ Ｐゴシック" charset="0"/>
              </a:rPr>
              <a:t>Using existing Hive UDFS</a:t>
            </a:r>
          </a:p>
          <a:p>
            <a:pPr marL="742950" lvl="2" indent="-342900"/>
            <a:r>
              <a:rPr lang="en-US" sz="1600" noProof="0" dirty="0" smtClean="0"/>
              <a:t>Standard Hive UDFs are already included</a:t>
            </a:r>
          </a:p>
          <a:p>
            <a:pPr marL="742950" lvl="2" indent="-342900"/>
            <a:r>
              <a:rPr lang="en-US" sz="1600" noProof="0" dirty="0" smtClean="0"/>
              <a:t>The jars of your UDFs have to be included in the project. If using JDBC server add - -jar command-line flag</a:t>
            </a:r>
          </a:p>
          <a:p>
            <a:pPr marL="742950" lvl="2" indent="-342900"/>
            <a:r>
              <a:rPr lang="en-US" sz="1600" noProof="0" dirty="0" smtClean="0"/>
              <a:t>To make UDFs available </a:t>
            </a:r>
          </a:p>
          <a:p>
            <a:pPr marL="800100" lvl="2" indent="0">
              <a:buNone/>
            </a:pP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iveCtx.sql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CREATE TEMPORARY FUNCTION name AS 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lass.function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)</a:t>
            </a:r>
            <a:endParaRPr lang="en-US" sz="20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2727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dirty="0" smtClean="0"/>
              <a:t>Exercis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sz="2400" b="1" noProof="0" dirty="0" smtClean="0"/>
              <a:t>Exercise </a:t>
            </a:r>
            <a:r>
              <a:rPr lang="en-US" sz="2400" b="1" dirty="0" smtClean="0"/>
              <a:t>14</a:t>
            </a:r>
            <a:r>
              <a:rPr lang="en-US" sz="2400" b="1" noProof="0" dirty="0" smtClean="0"/>
              <a:t>: Running spark jobs inside IntelliJ IDE</a:t>
            </a:r>
          </a:p>
          <a:p>
            <a:r>
              <a:rPr lang="en-US" sz="2400" b="1" noProof="0" dirty="0" smtClean="0"/>
              <a:t>Exercise 15: </a:t>
            </a:r>
            <a:r>
              <a:rPr lang="en-US" sz="2400" b="1" noProof="0" dirty="0" err="1" smtClean="0"/>
              <a:t>Dataframes</a:t>
            </a:r>
            <a:endParaRPr lang="en-US" sz="2400" b="1" noProof="0" dirty="0" smtClean="0"/>
          </a:p>
          <a:p>
            <a:r>
              <a:rPr lang="en-US" sz="2400" b="1" noProof="0" dirty="0" smtClean="0"/>
              <a:t>Exercise 16: </a:t>
            </a:r>
            <a:r>
              <a:rPr lang="en-US" sz="2400" b="1" noProof="0" dirty="0" err="1" smtClean="0"/>
              <a:t>Dataframes</a:t>
            </a:r>
            <a:endParaRPr lang="en-US" sz="2400" b="1" noProof="0" dirty="0" smtClean="0"/>
          </a:p>
          <a:p>
            <a:r>
              <a:rPr lang="en-US" sz="2400" b="1" noProof="0" dirty="0" smtClean="0"/>
              <a:t>Exercise 17: Spark RDD testing </a:t>
            </a:r>
          </a:p>
          <a:p>
            <a:r>
              <a:rPr lang="en-US" sz="2400" b="1" noProof="0" dirty="0" smtClean="0"/>
              <a:t>Exercise 18: Spark </a:t>
            </a:r>
            <a:r>
              <a:rPr lang="en-US" sz="2400" b="1" noProof="0" dirty="0" err="1" smtClean="0"/>
              <a:t>DataFrame</a:t>
            </a:r>
            <a:r>
              <a:rPr lang="en-US" sz="2400" b="1" noProof="0" dirty="0" smtClean="0"/>
              <a:t> testing exercise</a:t>
            </a:r>
            <a:endParaRPr lang="en-US" sz="2400" b="1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153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942975" y="1941508"/>
            <a:ext cx="5265737" cy="1231106"/>
          </a:xfrm>
        </p:spPr>
        <p:txBody>
          <a:bodyPr/>
          <a:lstStyle/>
          <a:p>
            <a:r>
              <a:rPr lang="en-US" noProof="0" dirty="0" smtClean="0"/>
              <a:t>6. Spark Streaming and Machine Learnin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37717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 smtClean="0"/>
              <a:t>Spark</a:t>
            </a:r>
            <a:r>
              <a:rPr lang="es-ES" dirty="0" smtClean="0"/>
              <a:t> </a:t>
            </a:r>
            <a:r>
              <a:rPr lang="es-ES" dirty="0" err="1" smtClean="0"/>
              <a:t>Streaming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488" y="816880"/>
            <a:ext cx="7191935" cy="3970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3936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 smtClean="0"/>
              <a:t>Spark</a:t>
            </a:r>
            <a:r>
              <a:rPr lang="es-ES" dirty="0" smtClean="0"/>
              <a:t> </a:t>
            </a:r>
            <a:r>
              <a:rPr lang="es-ES" dirty="0" err="1" smtClean="0"/>
              <a:t>Streaming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624" y="843558"/>
            <a:ext cx="5899637" cy="3915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19116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 smtClean="0"/>
              <a:t>Spark</a:t>
            </a:r>
            <a:r>
              <a:rPr lang="es-ES" dirty="0" smtClean="0"/>
              <a:t> </a:t>
            </a:r>
            <a:r>
              <a:rPr lang="es-ES" dirty="0" err="1" smtClean="0"/>
              <a:t>Streaming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977" y="852178"/>
            <a:ext cx="6722486" cy="3834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97295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 smtClean="0"/>
              <a:t>MLib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264" y="904034"/>
            <a:ext cx="8243888" cy="3809160"/>
          </a:xfrm>
        </p:spPr>
        <p:txBody>
          <a:bodyPr>
            <a:normAutofit/>
          </a:bodyPr>
          <a:lstStyle/>
          <a:p>
            <a:r>
              <a:rPr lang="en-GB" sz="1800" dirty="0"/>
              <a:t>Algorithms</a:t>
            </a:r>
          </a:p>
          <a:p>
            <a:pPr lvl="1"/>
            <a:r>
              <a:rPr lang="en-GB" sz="1600" b="1" dirty="0"/>
              <a:t>Classification</a:t>
            </a:r>
            <a:r>
              <a:rPr lang="en-GB" sz="1600" dirty="0"/>
              <a:t> (discrete) and </a:t>
            </a:r>
            <a:r>
              <a:rPr lang="en-GB" sz="1600" b="1" dirty="0"/>
              <a:t>regression</a:t>
            </a:r>
            <a:r>
              <a:rPr lang="en-GB" sz="1600" dirty="0"/>
              <a:t> (continue)</a:t>
            </a:r>
          </a:p>
          <a:p>
            <a:pPr lvl="2"/>
            <a:r>
              <a:rPr lang="en-GB" sz="1600" i="1" dirty="0" err="1"/>
              <a:t>e.g</a:t>
            </a:r>
            <a:r>
              <a:rPr lang="en-GB" sz="1600" dirty="0"/>
              <a:t>: credit scoring, marketing campaigns, …</a:t>
            </a:r>
          </a:p>
          <a:p>
            <a:pPr lvl="2"/>
            <a:r>
              <a:rPr lang="en-GB" sz="1600" dirty="0"/>
              <a:t>Linear models: SVMs, logistic regression, linear regression</a:t>
            </a:r>
          </a:p>
          <a:p>
            <a:pPr lvl="2"/>
            <a:r>
              <a:rPr lang="en-GB" sz="1600" dirty="0"/>
              <a:t>Naive Bayes</a:t>
            </a:r>
          </a:p>
          <a:p>
            <a:pPr lvl="2"/>
            <a:r>
              <a:rPr lang="en-GB" sz="1600" dirty="0"/>
              <a:t>Decision trees</a:t>
            </a:r>
          </a:p>
          <a:p>
            <a:pPr lvl="1"/>
            <a:endParaRPr lang="en-GB" sz="1600" dirty="0"/>
          </a:p>
          <a:p>
            <a:pPr lvl="1"/>
            <a:r>
              <a:rPr lang="en-GB" sz="1600" b="1" dirty="0"/>
              <a:t>Collaborative filtering</a:t>
            </a:r>
          </a:p>
          <a:p>
            <a:pPr lvl="2"/>
            <a:r>
              <a:rPr lang="en-GB" sz="1600" i="1" dirty="0" err="1"/>
              <a:t>e.g</a:t>
            </a:r>
            <a:r>
              <a:rPr lang="en-GB" sz="1600" dirty="0"/>
              <a:t>: recommenders</a:t>
            </a:r>
          </a:p>
          <a:p>
            <a:pPr lvl="2"/>
            <a:r>
              <a:rPr lang="en-GB" sz="1600" dirty="0"/>
              <a:t>Alternating least squares – ALS</a:t>
            </a:r>
          </a:p>
          <a:p>
            <a:pPr lvl="1"/>
            <a:endParaRPr lang="en-GB" sz="1600" dirty="0"/>
          </a:p>
          <a:p>
            <a:pPr lvl="1"/>
            <a:r>
              <a:rPr lang="en-GB" sz="1600" b="1" dirty="0"/>
              <a:t>Clustering</a:t>
            </a:r>
          </a:p>
          <a:p>
            <a:pPr lvl="2"/>
            <a:r>
              <a:rPr lang="en-GB" sz="1600" i="1" dirty="0" err="1"/>
              <a:t>e.g</a:t>
            </a:r>
            <a:r>
              <a:rPr lang="en-GB" sz="1600" dirty="0"/>
              <a:t>: social network analysis (communities)</a:t>
            </a:r>
          </a:p>
          <a:p>
            <a:pPr lvl="2"/>
            <a:r>
              <a:rPr lang="en-GB" sz="1600" dirty="0"/>
              <a:t>K-Means</a:t>
            </a:r>
          </a:p>
          <a:p>
            <a:endParaRPr lang="en-GB" sz="18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3074" name="Picture 2" descr="C:\Users\aimr\Pictures\3971667326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8436" y="904034"/>
            <a:ext cx="2304906" cy="1736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C:\Users\aimr\Pictures\3971667242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0915" y="2640462"/>
            <a:ext cx="1989792" cy="2142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7374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dirty="0" smtClean="0"/>
              <a:t>Exercis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800" dirty="0"/>
              <a:t>Exercise 14: Recommender </a:t>
            </a:r>
            <a:r>
              <a:rPr lang="en-GB" sz="2800" dirty="0" smtClean="0"/>
              <a:t>Algorithms</a:t>
            </a:r>
          </a:p>
          <a:p>
            <a:r>
              <a:rPr lang="en-GB" sz="2800" dirty="0"/>
              <a:t>Exercise 15: Deploy program in a Spark Cluster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7922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507831"/>
          </a:xfrm>
        </p:spPr>
        <p:txBody>
          <a:bodyPr/>
          <a:lstStyle/>
          <a:p>
            <a:r>
              <a:rPr lang="en-US" dirty="0"/>
              <a:t>LinkedIn</a:t>
            </a:r>
          </a:p>
          <a:p>
            <a:r>
              <a:rPr lang="en-US" dirty="0"/>
              <a:t>https://es.linkedin.com/in/chicochica10</a:t>
            </a:r>
          </a:p>
          <a:p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45260"/>
          </a:xfrm>
        </p:spPr>
        <p:txBody>
          <a:bodyPr/>
          <a:lstStyle/>
          <a:p>
            <a:r>
              <a:rPr lang="en-US" sz="2800" noProof="0" dirty="0" smtClean="0"/>
              <a:t>Spark Alternative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595" y="896644"/>
            <a:ext cx="5968568" cy="3843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0042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45260"/>
          </a:xfrm>
        </p:spPr>
        <p:txBody>
          <a:bodyPr/>
          <a:lstStyle/>
          <a:p>
            <a:r>
              <a:rPr lang="en-US" sz="2800" noProof="0" dirty="0" smtClean="0"/>
              <a:t>Spark vs Map-Reduce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04" y="845802"/>
            <a:ext cx="7140389" cy="3826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ounded Rectangular Callout 1"/>
          <p:cNvSpPr/>
          <p:nvPr/>
        </p:nvSpPr>
        <p:spPr>
          <a:xfrm>
            <a:off x="5891843" y="4157932"/>
            <a:ext cx="3174520" cy="514444"/>
          </a:xfrm>
          <a:prstGeom prst="wedgeRoundRectCallout">
            <a:avLst>
              <a:gd name="adj1" fmla="val -32741"/>
              <a:gd name="adj2" fmla="val -109185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r>
              <a:rPr lang="en-US" sz="1200" dirty="0" smtClean="0">
                <a:solidFill>
                  <a:schemeClr val="tx1"/>
                </a:solidFill>
              </a:rPr>
              <a:t>Multiple Map-Reduce and other operations can be managed in the same job</a:t>
            </a:r>
          </a:p>
        </p:txBody>
      </p:sp>
    </p:spTree>
    <p:extLst>
      <p:ext uri="{BB962C8B-B14F-4D97-AF65-F5344CB8AC3E}">
        <p14:creationId xmlns:p14="http://schemas.microsoft.com/office/powerpoint/2010/main" val="493491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45260"/>
          </a:xfrm>
        </p:spPr>
        <p:txBody>
          <a:bodyPr/>
          <a:lstStyle/>
          <a:p>
            <a:r>
              <a:rPr lang="en-US" sz="2800" noProof="0" dirty="0" smtClean="0"/>
              <a:t>Exercise 1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55" name="Inhaltsplatzhalter 5"/>
          <p:cNvSpPr>
            <a:spLocks noGrp="1"/>
          </p:cNvSpPr>
          <p:nvPr>
            <p:ph idx="1"/>
          </p:nvPr>
        </p:nvSpPr>
        <p:spPr>
          <a:xfrm>
            <a:off x="444503" y="1341062"/>
            <a:ext cx="4954491" cy="2013979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3200" b="0" noProof="0" dirty="0" smtClean="0"/>
              <a:t>Word count Map Reduce</a:t>
            </a:r>
          </a:p>
        </p:txBody>
      </p:sp>
    </p:spTree>
    <p:extLst>
      <p:ext uri="{BB962C8B-B14F-4D97-AF65-F5344CB8AC3E}">
        <p14:creationId xmlns:p14="http://schemas.microsoft.com/office/powerpoint/2010/main" val="1164731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45260"/>
          </a:xfrm>
        </p:spPr>
        <p:txBody>
          <a:bodyPr/>
          <a:lstStyle/>
          <a:p>
            <a:r>
              <a:rPr lang="en-US" sz="2800" noProof="0" dirty="0" smtClean="0"/>
              <a:t>Basic Concepts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55" name="Inhaltsplatzhalter 5"/>
          <p:cNvSpPr>
            <a:spLocks noGrp="1"/>
          </p:cNvSpPr>
          <p:nvPr>
            <p:ph idx="1"/>
          </p:nvPr>
        </p:nvSpPr>
        <p:spPr>
          <a:xfrm>
            <a:off x="377268" y="998162"/>
            <a:ext cx="8618814" cy="3708309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2400" b="0" noProof="0" dirty="0" smtClean="0"/>
              <a:t>Every Spark application consists of a </a:t>
            </a:r>
            <a:r>
              <a:rPr lang="en-US" sz="2400" b="1" noProof="0" dirty="0" smtClean="0"/>
              <a:t>driver program</a:t>
            </a:r>
            <a:r>
              <a:rPr lang="en-US" sz="2400" noProof="0" dirty="0" smtClean="0"/>
              <a:t> that defines </a:t>
            </a:r>
            <a:r>
              <a:rPr lang="en-US" sz="2400" b="1" noProof="0" dirty="0" smtClean="0"/>
              <a:t>distributed datasets </a:t>
            </a:r>
            <a:r>
              <a:rPr lang="en-US" sz="2400" noProof="0" dirty="0" smtClean="0"/>
              <a:t>on a cluster and then launches various </a:t>
            </a:r>
            <a:r>
              <a:rPr lang="en-US" sz="2400" b="1" noProof="0" dirty="0" smtClean="0"/>
              <a:t>parallel</a:t>
            </a:r>
            <a:r>
              <a:rPr lang="en-US" sz="2400" noProof="0" dirty="0" smtClean="0"/>
              <a:t> operations on them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2400" b="0" noProof="0" dirty="0" smtClean="0"/>
              <a:t>The </a:t>
            </a:r>
            <a:r>
              <a:rPr lang="en-US" sz="2400" b="1" noProof="0" dirty="0" smtClean="0"/>
              <a:t>driver </a:t>
            </a:r>
            <a:r>
              <a:rPr lang="en-US" sz="2400" noProof="0" dirty="0" smtClean="0"/>
              <a:t>can be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sz="2200" b="0" noProof="0" dirty="0" smtClean="0"/>
              <a:t>a </a:t>
            </a:r>
            <a:r>
              <a:rPr lang="en-US" sz="2200" b="1" noProof="0" dirty="0" smtClean="0"/>
              <a:t>shell</a:t>
            </a:r>
            <a:r>
              <a:rPr lang="en-US" sz="2200" b="0" noProof="0" dirty="0" smtClean="0"/>
              <a:t> that you can control interactively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sz="2200" noProof="0" dirty="0" smtClean="0"/>
              <a:t>a </a:t>
            </a:r>
            <a:r>
              <a:rPr lang="en-US" sz="2200" b="1" noProof="0" dirty="0" smtClean="0"/>
              <a:t>program</a:t>
            </a:r>
            <a:r>
              <a:rPr lang="en-US" sz="2200" noProof="0" dirty="0" smtClean="0"/>
              <a:t> in your local machine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sz="2200" b="0" noProof="0" dirty="0" smtClean="0"/>
              <a:t>a </a:t>
            </a:r>
            <a:r>
              <a:rPr lang="en-US" sz="2200" b="1" noProof="0" dirty="0" smtClean="0"/>
              <a:t>task</a:t>
            </a:r>
            <a:r>
              <a:rPr lang="en-US" sz="2200" b="0" noProof="0" dirty="0" smtClean="0"/>
              <a:t> in the cluster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6535" y="1920998"/>
            <a:ext cx="3014816" cy="2785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465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45260"/>
          </a:xfrm>
        </p:spPr>
        <p:txBody>
          <a:bodyPr/>
          <a:lstStyle/>
          <a:p>
            <a:r>
              <a:rPr lang="en-US" sz="2800" noProof="0" dirty="0" smtClean="0"/>
              <a:t>Basic Concepts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6535" y="1920998"/>
            <a:ext cx="3014816" cy="2785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5" name="Inhaltsplatzhalter 5"/>
          <p:cNvSpPr>
            <a:spLocks noGrp="1"/>
          </p:cNvSpPr>
          <p:nvPr>
            <p:ph idx="1"/>
          </p:nvPr>
        </p:nvSpPr>
        <p:spPr>
          <a:xfrm>
            <a:off x="377268" y="998162"/>
            <a:ext cx="8618814" cy="3708309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2400" b="0" noProof="0" dirty="0" smtClean="0"/>
              <a:t>The </a:t>
            </a:r>
            <a:r>
              <a:rPr lang="en-US" sz="2400" b="1" noProof="0" dirty="0" smtClean="0"/>
              <a:t>driver</a:t>
            </a:r>
            <a:r>
              <a:rPr lang="en-US" sz="2400" noProof="0" dirty="0" smtClean="0"/>
              <a:t> accesses Spark through a </a:t>
            </a:r>
            <a:r>
              <a:rPr lang="en-US" sz="2400" b="1" noProof="0" dirty="0" err="1" smtClean="0"/>
              <a:t>SparkContext</a:t>
            </a:r>
            <a:r>
              <a:rPr lang="en-US" sz="2400" b="1" noProof="0" dirty="0" smtClean="0"/>
              <a:t> object</a:t>
            </a:r>
            <a:r>
              <a:rPr lang="en-US" sz="2400" noProof="0" dirty="0" smtClean="0"/>
              <a:t> which encapsulates the connection to the cluster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2400" b="0" noProof="0" dirty="0" smtClean="0"/>
              <a:t>In the </a:t>
            </a:r>
            <a:r>
              <a:rPr lang="en-US" sz="2400" b="1" noProof="0" dirty="0" smtClean="0"/>
              <a:t>shell</a:t>
            </a:r>
            <a:r>
              <a:rPr lang="en-US" sz="2400" noProof="0" dirty="0" smtClean="0"/>
              <a:t> this object is created by default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2400" b="0" noProof="0" dirty="0" smtClean="0"/>
              <a:t>The </a:t>
            </a:r>
            <a:r>
              <a:rPr lang="en-US" sz="2400" b="1" noProof="0" dirty="0" err="1" smtClean="0"/>
              <a:t>sc</a:t>
            </a:r>
            <a:r>
              <a:rPr lang="en-US" sz="2400" b="1" noProof="0" dirty="0" smtClean="0"/>
              <a:t> </a:t>
            </a:r>
            <a:r>
              <a:rPr lang="en-US" sz="2400" noProof="0" dirty="0" smtClean="0"/>
              <a:t>object</a:t>
            </a:r>
            <a:endParaRPr lang="en-US" sz="2200" b="0" noProof="0" dirty="0" smtClean="0"/>
          </a:p>
        </p:txBody>
      </p:sp>
    </p:spTree>
    <p:extLst>
      <p:ext uri="{BB962C8B-B14F-4D97-AF65-F5344CB8AC3E}">
        <p14:creationId xmlns:p14="http://schemas.microsoft.com/office/powerpoint/2010/main" val="4035581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pPr marL="1588"/>
            <a:r>
              <a:rPr lang="en-US" noProof="0" dirty="0" smtClean="0"/>
              <a:t>AGENDA</a:t>
            </a:r>
            <a:endParaRPr lang="en-US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60000"/>
            <a:r>
              <a:rPr lang="en-US" noProof="0" dirty="0" smtClean="0"/>
              <a:t>Scope of the course</a:t>
            </a:r>
          </a:p>
          <a:p>
            <a:pPr marL="360000"/>
            <a:r>
              <a:rPr lang="en-US" noProof="0" dirty="0" smtClean="0"/>
              <a:t>Spark core concepts</a:t>
            </a:r>
          </a:p>
          <a:p>
            <a:pPr marL="360000"/>
            <a:r>
              <a:rPr lang="en-US" noProof="0" dirty="0" smtClean="0"/>
              <a:t>RDDs and Partitioning</a:t>
            </a:r>
          </a:p>
          <a:p>
            <a:pPr marL="360000"/>
            <a:r>
              <a:rPr lang="en-US" noProof="0" dirty="0" smtClean="0"/>
              <a:t>Spark Architecture</a:t>
            </a:r>
          </a:p>
          <a:p>
            <a:pPr marL="360000"/>
            <a:r>
              <a:rPr lang="en-US" noProof="0" dirty="0" smtClean="0"/>
              <a:t>Spark SQL and </a:t>
            </a:r>
            <a:r>
              <a:rPr lang="en-US" noProof="0" dirty="0" err="1" smtClean="0"/>
              <a:t>DataFrames</a:t>
            </a:r>
            <a:endParaRPr lang="en-US" noProof="0" dirty="0" smtClean="0"/>
          </a:p>
          <a:p>
            <a:pPr marL="360000"/>
            <a:r>
              <a:rPr lang="en-US" noProof="0" dirty="0" smtClean="0"/>
              <a:t>Spark Streaming</a:t>
            </a:r>
          </a:p>
          <a:p>
            <a:pPr marL="0" indent="0">
              <a:buNone/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3180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45260"/>
          </a:xfrm>
        </p:spPr>
        <p:txBody>
          <a:bodyPr/>
          <a:lstStyle/>
          <a:p>
            <a:r>
              <a:rPr lang="en-US" sz="2800" noProof="0" dirty="0" smtClean="0"/>
              <a:t>Basic Concepts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7935" y="1633425"/>
            <a:ext cx="3406116" cy="3147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5" name="Inhaltsplatzhalter 5"/>
          <p:cNvSpPr>
            <a:spLocks noGrp="1"/>
          </p:cNvSpPr>
          <p:nvPr>
            <p:ph idx="1"/>
          </p:nvPr>
        </p:nvSpPr>
        <p:spPr>
          <a:xfrm>
            <a:off x="310033" y="998162"/>
            <a:ext cx="5976468" cy="3708309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2400" noProof="0" dirty="0" smtClean="0"/>
              <a:t>In Spark computation on data is expressed as </a:t>
            </a:r>
            <a:r>
              <a:rPr lang="en-US" sz="2400" b="1" noProof="0" dirty="0" smtClean="0"/>
              <a:t>operations</a:t>
            </a:r>
            <a:r>
              <a:rPr lang="en-US" sz="2400" noProof="0" dirty="0" smtClean="0"/>
              <a:t> on distributed collections that are automatically parallelized across the cluster, called RDDs (Resilient Distributed Datasets)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2400" noProof="0" dirty="0" smtClean="0"/>
              <a:t>To run these operations, the driver typically manages a number of nodes, called executor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2400" noProof="0" dirty="0" smtClean="0"/>
              <a:t>The basic components are </a:t>
            </a:r>
            <a:r>
              <a:rPr lang="en-US" sz="2400" noProof="0" dirty="0" smtClean="0">
                <a:sym typeface="Wingdings" panose="05000000000000000000" pitchFamily="2" charset="2"/>
              </a:rPr>
              <a:t></a:t>
            </a:r>
            <a:endParaRPr lang="en-US" sz="2400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06555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45260"/>
          </a:xfrm>
        </p:spPr>
        <p:txBody>
          <a:bodyPr/>
          <a:lstStyle/>
          <a:p>
            <a:r>
              <a:rPr lang="en-US" sz="2800" noProof="0" dirty="0" smtClean="0"/>
              <a:t>Using the Spark-Shell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0" y="930088"/>
            <a:ext cx="7947212" cy="1270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26" y="2307987"/>
            <a:ext cx="6817660" cy="2391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96897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45260"/>
          </a:xfrm>
        </p:spPr>
        <p:txBody>
          <a:bodyPr/>
          <a:lstStyle/>
          <a:p>
            <a:r>
              <a:rPr lang="en-US" sz="2800" noProof="0" dirty="0" smtClean="0"/>
              <a:t>Spark Operations Example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289113" y="988357"/>
            <a:ext cx="8673352" cy="359708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Create an RDD called lines</a:t>
            </a:r>
            <a:endParaRPr lang="en-US" sz="14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lines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textFile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“input/core-site.xml") </a:t>
            </a:r>
          </a:p>
          <a:p>
            <a:pPr marL="0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lines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park.RDD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tring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appedRDD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 marL="0" indent="0">
              <a:buNone/>
            </a:pP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es.count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 </a:t>
            </a:r>
            <a:r>
              <a:rPr lang="en-US" sz="1400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Count the number of items in this RDD</a:t>
            </a:r>
          </a:p>
          <a:p>
            <a:pPr marL="0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0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Long 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127</a:t>
            </a:r>
          </a:p>
          <a:p>
            <a:pPr marL="0" indent="0">
              <a:buNone/>
            </a:pP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es.first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 </a:t>
            </a:r>
            <a:r>
              <a:rPr lang="en-US" sz="1400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First item in this RDD, i.e. first line of README.md</a:t>
            </a:r>
          </a:p>
          <a:p>
            <a:pPr marL="0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1: 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tring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&lt;?xml version="1.0"?&gt;</a:t>
            </a:r>
          </a:p>
          <a:p>
            <a:pPr marL="0" indent="0">
              <a:buNone/>
            </a:pPr>
            <a:endParaRPr lang="en-US" sz="1400" b="1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adoopLines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es.filter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line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e.contains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“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adoop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))</a:t>
            </a:r>
          </a:p>
          <a:p>
            <a:pPr marL="0" indent="0">
              <a:buNone/>
            </a:pP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adoop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es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park.RDD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tring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ilteredRDD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 marL="0" indent="0">
              <a:buNone/>
            </a:pP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adoop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es.first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0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2: 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tring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"    &lt;name&gt;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adoop.proxyuser.oozie.hosts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lt;/name&gt;"</a:t>
            </a:r>
            <a:endParaRPr lang="en-US" sz="1600" b="1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872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45260"/>
          </a:xfrm>
        </p:spPr>
        <p:txBody>
          <a:bodyPr/>
          <a:lstStyle/>
          <a:p>
            <a:r>
              <a:rPr lang="en-US" sz="2800" noProof="0" dirty="0" smtClean="0"/>
              <a:t>Building your own application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97952" y="955497"/>
            <a:ext cx="8702210" cy="2301411"/>
          </a:xfrm>
        </p:spPr>
        <p:txBody>
          <a:bodyPr>
            <a:normAutofit/>
          </a:bodyPr>
          <a:lstStyle/>
          <a:p>
            <a:r>
              <a:rPr lang="en-US" sz="2400" noProof="0" dirty="0" smtClean="0">
                <a:cs typeface="Courier New" panose="02070309020205020404" pitchFamily="49" charset="0"/>
              </a:rPr>
              <a:t>When building your own driver program, the spark context must be defined</a:t>
            </a:r>
            <a:endParaRPr lang="en-US" sz="2400" b="1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org.apache.spark.SparkConf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400050" lvl="1" indent="0">
              <a:buNone/>
            </a:pP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org.apache.spark.api.java.JavaSparkContext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400050" lvl="1" indent="0">
              <a:buNone/>
            </a:pP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parkConf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nf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new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parkConf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tMaster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local").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tAppName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My App");</a:t>
            </a:r>
          </a:p>
          <a:p>
            <a:pPr marL="400050" lvl="1" indent="0">
              <a:buNone/>
            </a:pP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JavaSparkContext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new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JavaSparkContext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nf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…</a:t>
            </a:r>
          </a:p>
          <a:p>
            <a:pPr marL="400050" lvl="1" indent="0">
              <a:buNone/>
            </a:pP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stop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400050" lvl="1" indent="0">
              <a:buNone/>
            </a:pPr>
            <a:endParaRPr lang="en-US" sz="12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endParaRPr lang="en-US" sz="12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endParaRPr lang="en-US" sz="12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endParaRPr lang="en-US" sz="2400" noProof="0" dirty="0" smtClean="0">
              <a:cs typeface="Courier New" panose="02070309020205020404" pitchFamily="49" charset="0"/>
            </a:endParaRPr>
          </a:p>
        </p:txBody>
      </p:sp>
      <p:sp>
        <p:nvSpPr>
          <p:cNvPr id="3" name="Rounded Rectangular Callout 2"/>
          <p:cNvSpPr/>
          <p:nvPr/>
        </p:nvSpPr>
        <p:spPr>
          <a:xfrm>
            <a:off x="449263" y="3442447"/>
            <a:ext cx="3423489" cy="1143000"/>
          </a:xfrm>
          <a:prstGeom prst="wedgeRoundRectCallout">
            <a:avLst>
              <a:gd name="adj1" fmla="val 94421"/>
              <a:gd name="adj2" fmla="val -136584"/>
              <a:gd name="adj3" fmla="val 16667"/>
            </a:avLst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r>
              <a:rPr lang="en-GB" sz="1200" dirty="0">
                <a:solidFill>
                  <a:schemeClr val="tx1"/>
                </a:solidFill>
              </a:rPr>
              <a:t>A </a:t>
            </a:r>
            <a:r>
              <a:rPr lang="en-GB" sz="1200" i="1" dirty="0">
                <a:solidFill>
                  <a:schemeClr val="tx1"/>
                </a:solidFill>
              </a:rPr>
              <a:t>cluster </a:t>
            </a:r>
            <a:r>
              <a:rPr lang="en-GB" sz="1200" i="1" dirty="0" smtClean="0">
                <a:solidFill>
                  <a:schemeClr val="tx1"/>
                </a:solidFill>
              </a:rPr>
              <a:t>URL</a:t>
            </a:r>
            <a:r>
              <a:rPr lang="en-GB" sz="1200" dirty="0" smtClean="0">
                <a:solidFill>
                  <a:schemeClr val="tx1"/>
                </a:solidFill>
              </a:rPr>
              <a:t>. in this example </a:t>
            </a:r>
            <a:r>
              <a:rPr lang="en-GB" sz="1200" b="1" dirty="0" smtClean="0">
                <a:solidFill>
                  <a:schemeClr val="tx1"/>
                </a:solidFill>
              </a:rPr>
              <a:t>local</a:t>
            </a:r>
            <a:r>
              <a:rPr lang="en-GB" sz="1200" dirty="0" smtClean="0">
                <a:solidFill>
                  <a:schemeClr val="tx1"/>
                </a:solidFill>
              </a:rPr>
              <a:t> tells </a:t>
            </a:r>
            <a:r>
              <a:rPr lang="en-GB" sz="1200" dirty="0">
                <a:solidFill>
                  <a:schemeClr val="tx1"/>
                </a:solidFill>
              </a:rPr>
              <a:t>Spark how to connect to a cluster. </a:t>
            </a:r>
            <a:r>
              <a:rPr lang="en-GB" sz="1200" b="1" dirty="0">
                <a:solidFill>
                  <a:schemeClr val="tx1"/>
                </a:solidFill>
              </a:rPr>
              <a:t>local</a:t>
            </a:r>
            <a:r>
              <a:rPr lang="en-GB" sz="1200" dirty="0">
                <a:solidFill>
                  <a:schemeClr val="tx1"/>
                </a:solidFill>
              </a:rPr>
              <a:t> is a special value that runs Spark on one thread on the local machine, without connecting to a cluster.</a:t>
            </a:r>
          </a:p>
        </p:txBody>
      </p:sp>
      <p:sp>
        <p:nvSpPr>
          <p:cNvPr id="9" name="Rounded Rectangular Callout 8"/>
          <p:cNvSpPr/>
          <p:nvPr/>
        </p:nvSpPr>
        <p:spPr>
          <a:xfrm>
            <a:off x="5429623" y="3505200"/>
            <a:ext cx="3423489" cy="1143000"/>
          </a:xfrm>
          <a:prstGeom prst="wedgeRoundRectCallout">
            <a:avLst>
              <a:gd name="adj1" fmla="val 13703"/>
              <a:gd name="adj2" fmla="val -138348"/>
              <a:gd name="adj3" fmla="val 16667"/>
            </a:avLst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r>
              <a:rPr lang="en-GB" sz="1200" dirty="0">
                <a:solidFill>
                  <a:schemeClr val="tx1"/>
                </a:solidFill>
              </a:rPr>
              <a:t>An </a:t>
            </a:r>
            <a:r>
              <a:rPr lang="en-GB" sz="1200" i="1" dirty="0">
                <a:solidFill>
                  <a:schemeClr val="tx1"/>
                </a:solidFill>
              </a:rPr>
              <a:t>application name</a:t>
            </a:r>
            <a:r>
              <a:rPr lang="en-GB" sz="1200" dirty="0">
                <a:solidFill>
                  <a:schemeClr val="tx1"/>
                </a:solidFill>
              </a:rPr>
              <a:t>, </a:t>
            </a:r>
            <a:r>
              <a:rPr lang="en-GB" sz="1200" b="1" dirty="0" smtClean="0">
                <a:solidFill>
                  <a:schemeClr val="tx1"/>
                </a:solidFill>
              </a:rPr>
              <a:t>My </a:t>
            </a:r>
            <a:r>
              <a:rPr lang="en-GB" sz="1200" b="1" dirty="0">
                <a:solidFill>
                  <a:schemeClr val="tx1"/>
                </a:solidFill>
              </a:rPr>
              <a:t>App </a:t>
            </a:r>
            <a:r>
              <a:rPr lang="en-GB" sz="1200" dirty="0">
                <a:solidFill>
                  <a:schemeClr val="tx1"/>
                </a:solidFill>
              </a:rPr>
              <a:t>in this example.  This will identify your application on the cluster manager’s UI  if you connect to a cluster</a:t>
            </a:r>
          </a:p>
        </p:txBody>
      </p:sp>
    </p:spTree>
    <p:extLst>
      <p:ext uri="{BB962C8B-B14F-4D97-AF65-F5344CB8AC3E}">
        <p14:creationId xmlns:p14="http://schemas.microsoft.com/office/powerpoint/2010/main" val="2278523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45260"/>
          </a:xfrm>
        </p:spPr>
        <p:txBody>
          <a:bodyPr/>
          <a:lstStyle/>
          <a:p>
            <a:r>
              <a:rPr lang="en-US" sz="2800" noProof="0" dirty="0" smtClean="0"/>
              <a:t>Building your own application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03822" y="981635"/>
            <a:ext cx="8702210" cy="3053465"/>
          </a:xfrm>
        </p:spPr>
        <p:txBody>
          <a:bodyPr>
            <a:normAutofit/>
          </a:bodyPr>
          <a:lstStyle/>
          <a:p>
            <a:r>
              <a:rPr lang="en-US" sz="2400" noProof="0" dirty="0">
                <a:cs typeface="Courier New" panose="02070309020205020404" pitchFamily="49" charset="0"/>
              </a:rPr>
              <a:t>F</a:t>
            </a:r>
            <a:r>
              <a:rPr lang="en-US" sz="2400" noProof="0" dirty="0" smtClean="0">
                <a:cs typeface="Courier New" panose="02070309020205020404" pitchFamily="49" charset="0"/>
              </a:rPr>
              <a:t>or compiling add Spark core dependencies in  the </a:t>
            </a:r>
            <a:r>
              <a:rPr lang="en-US" sz="2400" noProof="0" dirty="0" err="1" smtClean="0">
                <a:cs typeface="Courier New" panose="02070309020205020404" pitchFamily="49" charset="0"/>
              </a:rPr>
              <a:t>build.sbt</a:t>
            </a:r>
            <a:r>
              <a:rPr lang="en-US" sz="2400" noProof="0" dirty="0" smtClean="0">
                <a:cs typeface="Courier New" panose="02070309020205020404" pitchFamily="49" charset="0"/>
              </a:rPr>
              <a:t> project file</a:t>
            </a:r>
          </a:p>
          <a:p>
            <a:pPr marL="0" indent="0">
              <a:buNone/>
            </a:pPr>
            <a:endParaRPr lang="en-US" sz="2400" noProof="0" dirty="0" smtClean="0"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additional libraries</a:t>
            </a:r>
          </a:p>
          <a:p>
            <a:pPr marL="400050" lvl="1" indent="0">
              <a:buNone/>
            </a:pP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braryDependencies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++=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org.apache.spark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 %% "spark-core" % "1.5.0" % "provided"</a:t>
            </a: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2970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45260"/>
          </a:xfrm>
        </p:spPr>
        <p:txBody>
          <a:bodyPr/>
          <a:lstStyle/>
          <a:p>
            <a:r>
              <a:rPr lang="en-US" sz="2800" noProof="0" dirty="0" smtClean="0"/>
              <a:t>Exercise 2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55" name="Inhaltsplatzhalter 5"/>
          <p:cNvSpPr>
            <a:spLocks noGrp="1"/>
          </p:cNvSpPr>
          <p:nvPr>
            <p:ph idx="1"/>
          </p:nvPr>
        </p:nvSpPr>
        <p:spPr>
          <a:xfrm>
            <a:off x="444503" y="1341062"/>
            <a:ext cx="4954491" cy="2013979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3200" b="0" noProof="0" dirty="0" smtClean="0"/>
              <a:t>Using the Spark shell</a:t>
            </a:r>
          </a:p>
        </p:txBody>
      </p:sp>
    </p:spTree>
    <p:extLst>
      <p:ext uri="{BB962C8B-B14F-4D97-AF65-F5344CB8AC3E}">
        <p14:creationId xmlns:p14="http://schemas.microsoft.com/office/powerpoint/2010/main" val="2126566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942975" y="1941508"/>
            <a:ext cx="5265737" cy="1846659"/>
          </a:xfrm>
        </p:spPr>
        <p:txBody>
          <a:bodyPr/>
          <a:lstStyle/>
          <a:p>
            <a:r>
              <a:rPr lang="en-US" noProof="0" dirty="0" smtClean="0"/>
              <a:t>3. RDDs and Partitioning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26270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45260"/>
          </a:xfrm>
        </p:spPr>
        <p:txBody>
          <a:bodyPr/>
          <a:lstStyle/>
          <a:p>
            <a:r>
              <a:rPr lang="en-US" sz="2800" noProof="0" dirty="0" smtClean="0"/>
              <a:t>RDD Definition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03822" y="981635"/>
            <a:ext cx="8702210" cy="3053465"/>
          </a:xfrm>
        </p:spPr>
        <p:txBody>
          <a:bodyPr>
            <a:normAutofit/>
          </a:bodyPr>
          <a:lstStyle/>
          <a:p>
            <a:r>
              <a:rPr lang="en-US" sz="2000" noProof="0" dirty="0" smtClean="0"/>
              <a:t>An RDD in Spark is simply an immutable distributed collection of objects. </a:t>
            </a:r>
          </a:p>
          <a:p>
            <a:r>
              <a:rPr lang="en-US" sz="2000" noProof="0" dirty="0" smtClean="0"/>
              <a:t>Each RDD is split into </a:t>
            </a:r>
            <a:r>
              <a:rPr lang="en-US" sz="2000" b="1" noProof="0" dirty="0" smtClean="0"/>
              <a:t>multiple </a:t>
            </a:r>
            <a:r>
              <a:rPr lang="en-US" sz="2000" b="1" i="1" noProof="0" dirty="0" smtClean="0"/>
              <a:t>partitions</a:t>
            </a:r>
            <a:r>
              <a:rPr lang="en-US" sz="2000" noProof="0" dirty="0" smtClean="0"/>
              <a:t>, which may be computed on different </a:t>
            </a:r>
            <a:r>
              <a:rPr lang="en-US" sz="2000" b="1" noProof="0" dirty="0" smtClean="0"/>
              <a:t>nodes</a:t>
            </a:r>
            <a:r>
              <a:rPr lang="en-US" sz="2000" noProof="0" dirty="0" smtClean="0"/>
              <a:t> of the cluster. </a:t>
            </a:r>
          </a:p>
          <a:p>
            <a:r>
              <a:rPr lang="en-US" sz="2000" noProof="0" dirty="0" smtClean="0"/>
              <a:t>RDDs can contain any type of objects:</a:t>
            </a:r>
          </a:p>
          <a:p>
            <a:pPr lvl="1"/>
            <a:r>
              <a:rPr lang="en-US" sz="1800" noProof="0" dirty="0" smtClean="0"/>
              <a:t> Python</a:t>
            </a:r>
          </a:p>
          <a:p>
            <a:pPr lvl="1"/>
            <a:r>
              <a:rPr lang="en-US" sz="1800" noProof="0" dirty="0" smtClean="0"/>
              <a:t>Java</a:t>
            </a:r>
          </a:p>
          <a:p>
            <a:pPr lvl="1"/>
            <a:r>
              <a:rPr lang="en-US" sz="1800" noProof="0" dirty="0" smtClean="0"/>
              <a:t>R</a:t>
            </a:r>
          </a:p>
          <a:p>
            <a:pPr lvl="1"/>
            <a:r>
              <a:rPr lang="en-US" sz="1800" noProof="0" dirty="0" smtClean="0"/>
              <a:t>Scala</a:t>
            </a:r>
          </a:p>
          <a:p>
            <a:pPr lvl="1"/>
            <a:r>
              <a:rPr lang="en-US" sz="1800" noProof="0" dirty="0" smtClean="0"/>
              <a:t>user defined classes</a:t>
            </a:r>
            <a:endParaRPr lang="en-US" sz="18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3074" name="Picture 2" descr="C:\Users\aimr\Pictures\RDD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593" y="2223084"/>
            <a:ext cx="5095407" cy="2300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6942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45260"/>
          </a:xfrm>
        </p:spPr>
        <p:txBody>
          <a:bodyPr/>
          <a:lstStyle/>
          <a:p>
            <a:r>
              <a:rPr lang="en-US" sz="2800" noProof="0" dirty="0" smtClean="0"/>
              <a:t>RDD Creation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03822" y="847165"/>
            <a:ext cx="8702210" cy="3812241"/>
          </a:xfrm>
        </p:spPr>
        <p:txBody>
          <a:bodyPr>
            <a:normAutofit/>
          </a:bodyPr>
          <a:lstStyle/>
          <a:p>
            <a:r>
              <a:rPr lang="en-US" sz="2000" noProof="0" dirty="0" smtClean="0"/>
              <a:t>RDDs </a:t>
            </a:r>
            <a:r>
              <a:rPr lang="en-US" sz="2000" dirty="0" smtClean="0"/>
              <a:t>can be created in </a:t>
            </a:r>
            <a:r>
              <a:rPr lang="en-US" sz="2000" b="1" dirty="0" smtClean="0"/>
              <a:t>three ways</a:t>
            </a:r>
            <a:r>
              <a:rPr lang="en-US" sz="2000" dirty="0" smtClean="0"/>
              <a:t>:</a:t>
            </a:r>
          </a:p>
          <a:p>
            <a:pPr marL="0" indent="0">
              <a:buNone/>
            </a:pPr>
            <a:endParaRPr lang="en-US" sz="2000" dirty="0" smtClean="0"/>
          </a:p>
          <a:p>
            <a:pPr marL="361950" lvl="1">
              <a:buFont typeface="+mj-lt"/>
              <a:buAutoNum type="arabicPeriod"/>
            </a:pPr>
            <a:r>
              <a:rPr lang="en-US" sz="1800" noProof="0" dirty="0" smtClean="0"/>
              <a:t> </a:t>
            </a:r>
            <a:r>
              <a:rPr lang="en-US" sz="1800" dirty="0"/>
              <a:t>B</a:t>
            </a:r>
            <a:r>
              <a:rPr lang="en-US" sz="1800" noProof="0" dirty="0" smtClean="0"/>
              <a:t>y loading from an external dataset in HDFS, S3, local file, </a:t>
            </a:r>
            <a:r>
              <a:rPr lang="en-US" sz="1800" noProof="0" dirty="0" err="1" smtClean="0"/>
              <a:t>etc</a:t>
            </a:r>
            <a:r>
              <a:rPr lang="en-US" sz="1800" noProof="0" dirty="0" smtClean="0"/>
              <a:t>…</a:t>
            </a:r>
            <a:endParaRPr lang="en-US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2" indent="0">
              <a:spcBef>
                <a:spcPts val="600"/>
              </a:spcBef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scala&gt; 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lines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textFil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README.md")</a:t>
            </a:r>
          </a:p>
          <a:p>
            <a:pPr marL="360363" lvl="2" indent="-179388">
              <a:spcBef>
                <a:spcPts val="600"/>
              </a:spcBef>
              <a:buFont typeface="+mj-lt"/>
              <a:buAutoNum type="arabicPeriod" startAt="2"/>
            </a:pPr>
            <a:r>
              <a:rPr lang="en-US" sz="1800" noProof="0" dirty="0" smtClean="0">
                <a:cs typeface="Courier New" panose="02070309020205020404" pitchFamily="49" charset="0"/>
              </a:rPr>
              <a:t> Parallelizing a collection of objects already existing in the memory of the driver / workers </a:t>
            </a:r>
          </a:p>
          <a:p>
            <a:pPr marL="0" lvl="2" indent="0">
              <a:spcBef>
                <a:spcPts val="600"/>
              </a:spcBef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scala&gt; </a:t>
            </a:r>
            <a:r>
              <a:rPr lang="en-US" sz="16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input 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.parallelize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List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1, 2, 3, 4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pPr marL="363538" lvl="2" indent="-168275">
              <a:spcBef>
                <a:spcPts val="600"/>
              </a:spcBef>
              <a:buFont typeface="+mj-lt"/>
              <a:buAutoNum type="arabicPeriod" startAt="3"/>
            </a:pPr>
            <a:r>
              <a:rPr lang="en-US" sz="1800" dirty="0" smtClean="0">
                <a:cs typeface="Courier New" panose="02070309020205020404" pitchFamily="49" charset="0"/>
              </a:rPr>
              <a:t>As a result of a transformation from another RDD</a:t>
            </a:r>
            <a:endParaRPr lang="en-US" sz="1800" dirty="0">
              <a:cs typeface="Courier New" panose="02070309020205020404" pitchFamily="49" charset="0"/>
            </a:endParaRPr>
          </a:p>
          <a:p>
            <a:pPr marL="0" lvl="2" indent="0">
              <a:spcBef>
                <a:spcPts val="600"/>
              </a:spcBef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scala&gt; </a:t>
            </a:r>
            <a:r>
              <a:rPr lang="en-US" sz="16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dd2 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dd1.filter(line 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=&gt; </a:t>
            </a:r>
            <a:r>
              <a:rPr lang="en-US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ne.contains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"error"))</a:t>
            </a:r>
          </a:p>
          <a:p>
            <a:pPr marL="180975" lvl="2" indent="0">
              <a:spcBef>
                <a:spcPts val="600"/>
              </a:spcBef>
              <a:buNone/>
            </a:pPr>
            <a:endParaRPr lang="en-US" sz="1800" noProof="0" dirty="0" smtClean="0">
              <a:cs typeface="Courier New" panose="02070309020205020404" pitchFamily="49" charset="0"/>
            </a:endParaRPr>
          </a:p>
        </p:txBody>
      </p:sp>
      <p:pic>
        <p:nvPicPr>
          <p:cNvPr id="6" name="Picture 2" descr="C:\Users\aimr\Pictures\RDD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1368" y="847166"/>
            <a:ext cx="1889615" cy="853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9330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45260"/>
          </a:xfrm>
        </p:spPr>
        <p:txBody>
          <a:bodyPr/>
          <a:lstStyle/>
          <a:p>
            <a:r>
              <a:rPr lang="en-US" sz="2800" noProof="0" dirty="0" smtClean="0"/>
              <a:t>RDD Basics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03822" y="847165"/>
            <a:ext cx="8702210" cy="3812241"/>
          </a:xfrm>
        </p:spPr>
        <p:txBody>
          <a:bodyPr>
            <a:normAutofit/>
          </a:bodyPr>
          <a:lstStyle/>
          <a:p>
            <a:r>
              <a:rPr lang="en-US" sz="2400" noProof="0" dirty="0" smtClean="0"/>
              <a:t>Once created, RDDs offer two types of operations: </a:t>
            </a:r>
          </a:p>
          <a:p>
            <a:pPr marL="0" indent="0">
              <a:buNone/>
            </a:pPr>
            <a:endParaRPr lang="en-US" sz="20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en-US" sz="2000" b="1" i="1" noProof="0" dirty="0" smtClean="0"/>
              <a:t>Transformations</a:t>
            </a:r>
            <a:r>
              <a:rPr lang="en-US" sz="2000" i="1" noProof="0" dirty="0" smtClean="0"/>
              <a:t> </a:t>
            </a:r>
            <a:r>
              <a:rPr lang="en-US" sz="2000" noProof="0" dirty="0" smtClean="0"/>
              <a:t>construct a new RDD from a previous one. For example, one common transformation is filtering data that matches a predicate</a:t>
            </a:r>
            <a:r>
              <a:rPr lang="en-US" sz="1800" noProof="0" dirty="0" smtClean="0"/>
              <a:t>.</a:t>
            </a:r>
          </a:p>
          <a:p>
            <a:pPr marL="179388" lvl="1" indent="0">
              <a:buNone/>
            </a:pPr>
            <a:endParaRPr lang="en-US" sz="1800" b="1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763" lvl="2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ythonLines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es.filter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line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e.contains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Python"))</a:t>
            </a:r>
          </a:p>
          <a:p>
            <a:pPr marL="4763" lvl="2" indent="0">
              <a:buNone/>
            </a:pPr>
            <a:endParaRPr lang="en-US" sz="1800" b="1" i="1" noProof="0" dirty="0" smtClean="0"/>
          </a:p>
          <a:p>
            <a:pPr lvl="1"/>
            <a:r>
              <a:rPr lang="en-US" sz="1800" b="1" i="1" noProof="0" dirty="0" smtClean="0"/>
              <a:t>Actions</a:t>
            </a:r>
            <a:r>
              <a:rPr lang="en-US" sz="1800" noProof="0" dirty="0" smtClean="0"/>
              <a:t> compute a result based on an RDD, and either return it to the driver program or save it to an external storage system (e.g., HDFS).</a:t>
            </a:r>
          </a:p>
          <a:p>
            <a:pPr marL="179388" lvl="1" indent="0">
              <a:buNone/>
            </a:pPr>
            <a:endParaRPr lang="en-US" sz="18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763" lvl="2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es.firs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en-US" sz="16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3852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942975" y="1941508"/>
            <a:ext cx="5265737" cy="615553"/>
          </a:xfrm>
        </p:spPr>
        <p:txBody>
          <a:bodyPr/>
          <a:lstStyle/>
          <a:p>
            <a:r>
              <a:rPr lang="en-US" noProof="0" dirty="0" smtClean="0"/>
              <a:t>1. Scope of the cours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8833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45260"/>
          </a:xfrm>
        </p:spPr>
        <p:txBody>
          <a:bodyPr/>
          <a:lstStyle/>
          <a:p>
            <a:r>
              <a:rPr lang="en-US" sz="2800" noProof="0" dirty="0" smtClean="0"/>
              <a:t>RDD Basics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03821" y="847165"/>
            <a:ext cx="8866219" cy="3812241"/>
          </a:xfrm>
        </p:spPr>
        <p:txBody>
          <a:bodyPr>
            <a:normAutofit lnSpcReduction="10000"/>
          </a:bodyPr>
          <a:lstStyle/>
          <a:p>
            <a:r>
              <a:rPr lang="en-US" sz="2000" noProof="0" dirty="0" smtClean="0"/>
              <a:t>Sparks computes </a:t>
            </a:r>
            <a:r>
              <a:rPr lang="en-US" sz="2000" b="1" noProof="0" dirty="0" smtClean="0"/>
              <a:t>RDDs in a Lazy way</a:t>
            </a:r>
            <a:r>
              <a:rPr lang="en-US" sz="2000" noProof="0" dirty="0" smtClean="0"/>
              <a:t>. It sees the </a:t>
            </a:r>
            <a:r>
              <a:rPr lang="en-US" sz="2000" b="1" noProof="0" dirty="0" smtClean="0"/>
              <a:t>whole chain </a:t>
            </a:r>
            <a:r>
              <a:rPr lang="en-US" sz="2000" noProof="0" dirty="0" smtClean="0"/>
              <a:t>of transformations and compute just the data needed for its result the first time they are used in an action.</a:t>
            </a:r>
          </a:p>
          <a:p>
            <a:r>
              <a:rPr lang="en-US" sz="2000" noProof="0" dirty="0" smtClean="0"/>
              <a:t>Spark’s </a:t>
            </a:r>
            <a:r>
              <a:rPr lang="en-US" sz="2000" b="1" noProof="0" dirty="0" smtClean="0"/>
              <a:t>RDDs</a:t>
            </a:r>
            <a:r>
              <a:rPr lang="en-US" sz="2000" noProof="0" dirty="0" smtClean="0"/>
              <a:t> are by </a:t>
            </a:r>
            <a:r>
              <a:rPr lang="en-US" sz="2000" b="1" noProof="0" dirty="0" smtClean="0"/>
              <a:t>default recomputed </a:t>
            </a:r>
            <a:r>
              <a:rPr lang="en-US" sz="2000" noProof="0" dirty="0" smtClean="0"/>
              <a:t>each time you run an action on them.</a:t>
            </a:r>
          </a:p>
          <a:p>
            <a:r>
              <a:rPr lang="en-US" sz="2000" noProof="0" dirty="0" smtClean="0"/>
              <a:t>If you would like to reuse an RDD in </a:t>
            </a:r>
            <a:r>
              <a:rPr lang="en-US" sz="2000" b="1" noProof="0" dirty="0" smtClean="0"/>
              <a:t>multiple actions</a:t>
            </a:r>
            <a:r>
              <a:rPr lang="en-US" sz="2000" noProof="0" dirty="0" smtClean="0"/>
              <a:t>, you can ask Spark to </a:t>
            </a:r>
            <a:r>
              <a:rPr lang="en-US" sz="2000" b="1" i="1" noProof="0" dirty="0" smtClean="0"/>
              <a:t>persist</a:t>
            </a:r>
            <a:r>
              <a:rPr lang="en-US" sz="2000" i="1" noProof="0" dirty="0" smtClean="0"/>
              <a:t> </a:t>
            </a:r>
            <a:r>
              <a:rPr lang="en-US" sz="2000" noProof="0" dirty="0" smtClean="0"/>
              <a:t>it using 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DD.persist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</a:p>
          <a:p>
            <a:r>
              <a:rPr lang="en-US" sz="2000" noProof="0" dirty="0" smtClean="0"/>
              <a:t>Example:</a:t>
            </a:r>
          </a:p>
          <a:p>
            <a:pPr marL="457200" lvl="1" indent="0">
              <a:buNone/>
            </a:pP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ythonLines.persist</a:t>
            </a:r>
            <a:endParaRPr lang="en-US" sz="18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57200" lvl="1" indent="0">
              <a:buNone/>
            </a:pP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ythonLines.coun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45720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</a:p>
          <a:p>
            <a:pPr marL="457200" lvl="1" indent="0">
              <a:buNone/>
            </a:pP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ythonLines.firs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45720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u'## Interactive Python Shell'</a:t>
            </a:r>
          </a:p>
          <a:p>
            <a:pPr marL="0" indent="0">
              <a:buNone/>
            </a:pPr>
            <a:endParaRPr lang="en-US" sz="1600" noProof="0" dirty="0" smtClean="0"/>
          </a:p>
          <a:p>
            <a:endParaRPr lang="en-US" sz="16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4098" name="Picture 2" descr="C:\Users\aimr\Pictures\RDD-lazy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5529" y="2830052"/>
            <a:ext cx="2573458" cy="1936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36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ular Callout 3"/>
          <p:cNvSpPr/>
          <p:nvPr/>
        </p:nvSpPr>
        <p:spPr>
          <a:xfrm>
            <a:off x="5302483" y="820270"/>
            <a:ext cx="3677769" cy="968187"/>
          </a:xfrm>
          <a:prstGeom prst="wedgeRoundRectCallout">
            <a:avLst>
              <a:gd name="adj1" fmla="val -73968"/>
              <a:gd name="adj2" fmla="val 54576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r>
              <a:rPr lang="en-GB" sz="1400" dirty="0" smtClean="0">
                <a:solidFill>
                  <a:schemeClr val="tx1"/>
                </a:solidFill>
              </a:rPr>
              <a:t>This operation </a:t>
            </a:r>
            <a:r>
              <a:rPr lang="en-GB" sz="1400" dirty="0">
                <a:solidFill>
                  <a:schemeClr val="tx1"/>
                </a:solidFill>
              </a:rPr>
              <a:t>does not mutate the existing </a:t>
            </a:r>
            <a:r>
              <a:rPr lang="en-GB" sz="1400" b="1" dirty="0" err="1">
                <a:solidFill>
                  <a:schemeClr val="tx1"/>
                </a:solidFill>
              </a:rPr>
              <a:t>inputRDD</a:t>
            </a:r>
            <a:r>
              <a:rPr lang="en-GB" sz="1400" dirty="0">
                <a:solidFill>
                  <a:schemeClr val="tx1"/>
                </a:solidFill>
              </a:rPr>
              <a:t>. </a:t>
            </a:r>
          </a:p>
          <a:p>
            <a:r>
              <a:rPr lang="en-GB" sz="1400" dirty="0">
                <a:solidFill>
                  <a:schemeClr val="tx1"/>
                </a:solidFill>
              </a:rPr>
              <a:t>Returns a pointer to an entirely new RDD. </a:t>
            </a:r>
          </a:p>
          <a:p>
            <a:r>
              <a:rPr lang="en-GB" sz="1400" b="1" dirty="0" err="1">
                <a:solidFill>
                  <a:schemeClr val="tx1"/>
                </a:solidFill>
              </a:rPr>
              <a:t>inputRDD</a:t>
            </a:r>
            <a:r>
              <a:rPr lang="en-GB" sz="1400" dirty="0">
                <a:solidFill>
                  <a:schemeClr val="tx1"/>
                </a:solidFill>
              </a:rPr>
              <a:t> </a:t>
            </a:r>
            <a:r>
              <a:rPr lang="en-GB" sz="1400" dirty="0" smtClean="0">
                <a:solidFill>
                  <a:schemeClr val="tx1"/>
                </a:solidFill>
              </a:rPr>
              <a:t>can be reused </a:t>
            </a:r>
            <a:r>
              <a:rPr lang="en-GB" sz="1400" dirty="0">
                <a:solidFill>
                  <a:schemeClr val="tx1"/>
                </a:solidFill>
              </a:rPr>
              <a:t>later 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18008"/>
          </a:xfrm>
        </p:spPr>
        <p:txBody>
          <a:bodyPr/>
          <a:lstStyle/>
          <a:p>
            <a:r>
              <a:rPr lang="en-US" sz="2800" noProof="0" dirty="0" smtClean="0"/>
              <a:t>Transformations	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148668" y="907676"/>
            <a:ext cx="8296274" cy="1889313"/>
          </a:xfrm>
        </p:spPr>
        <p:txBody>
          <a:bodyPr>
            <a:normAutofit lnSpcReduction="10000"/>
          </a:bodyPr>
          <a:lstStyle/>
          <a:p>
            <a:r>
              <a:rPr lang="en-US" sz="2000" noProof="0" dirty="0" smtClean="0"/>
              <a:t>Lazy operations, returning new RDD</a:t>
            </a:r>
          </a:p>
          <a:p>
            <a:pPr marL="0" indent="0">
              <a:buNone/>
            </a:pPr>
            <a:endParaRPr lang="en-US" sz="2000" noProof="0" dirty="0" smtClean="0"/>
          </a:p>
          <a:p>
            <a:pPr marL="0" indent="0">
              <a:buNone/>
            </a:pP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putRDD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textFil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log.txt")</a:t>
            </a:r>
          </a:p>
          <a:p>
            <a:pPr marL="0" indent="0">
              <a:buNone/>
            </a:pP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errorsRDD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putRDD.filter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line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e.contains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error"))</a:t>
            </a:r>
          </a:p>
          <a:p>
            <a:pPr marL="0" indent="0">
              <a:buNone/>
            </a:pP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warningsRDD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putRDD.filter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line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e.contains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warning"))</a:t>
            </a:r>
          </a:p>
          <a:p>
            <a:pPr marL="0" indent="0">
              <a:buNone/>
            </a:pP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adLinesRDD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errorsRDD.unio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warningsRDD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6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149" y="2852299"/>
            <a:ext cx="2558232" cy="1861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3248238" y="2850558"/>
            <a:ext cx="573201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Spark </a:t>
            </a:r>
            <a:r>
              <a:rPr lang="en-GB" sz="2000" dirty="0" smtClean="0"/>
              <a:t>keeps track </a:t>
            </a:r>
            <a:r>
              <a:rPr lang="en-GB" sz="2000" dirty="0"/>
              <a:t>of the set of dependencies between different RDDs, called the </a:t>
            </a:r>
            <a:r>
              <a:rPr lang="en-GB" sz="2000" b="1" i="1" dirty="0"/>
              <a:t>lineage graph</a:t>
            </a:r>
            <a:r>
              <a:rPr lang="en-GB" sz="2000" dirty="0"/>
              <a:t>. </a:t>
            </a:r>
            <a:endParaRPr lang="en-GB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 smtClean="0"/>
              <a:t>It uses </a:t>
            </a:r>
            <a:r>
              <a:rPr lang="en-GB" sz="2000" dirty="0"/>
              <a:t>this information to compute each RDD on demand and to recover lost data </a:t>
            </a:r>
            <a:r>
              <a:rPr lang="en-GB" sz="2000" dirty="0" smtClean="0"/>
              <a:t>if part </a:t>
            </a:r>
            <a:r>
              <a:rPr lang="en-GB" sz="2000" dirty="0"/>
              <a:t>of a persistent RDD is lost</a:t>
            </a:r>
            <a:r>
              <a:rPr lang="en-GB" sz="16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53957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4503" y="469971"/>
            <a:ext cx="6692104" cy="245260"/>
          </a:xfrm>
        </p:spPr>
        <p:txBody>
          <a:bodyPr/>
          <a:lstStyle/>
          <a:p>
            <a:r>
              <a:rPr lang="en-US" sz="2800" noProof="0" dirty="0" smtClean="0"/>
              <a:t>Actions</a:t>
            </a:r>
            <a:endParaRPr lang="en-US" sz="2800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8088" y="816628"/>
            <a:ext cx="8901953" cy="2807354"/>
          </a:xfrm>
        </p:spPr>
        <p:txBody>
          <a:bodyPr>
            <a:noAutofit/>
          </a:bodyPr>
          <a:lstStyle/>
          <a:p>
            <a:r>
              <a:rPr lang="en-US" sz="2000" noProof="0" dirty="0" smtClean="0"/>
              <a:t>Operations that return a final value to the driver program or write data to an external storage system. </a:t>
            </a:r>
          </a:p>
          <a:p>
            <a:r>
              <a:rPr lang="en-US" sz="2000" noProof="0" dirty="0" smtClean="0"/>
              <a:t>Force the evaluation of the transformations required for the RDD</a:t>
            </a:r>
          </a:p>
          <a:p>
            <a:r>
              <a:rPr lang="en-US" sz="2000" noProof="0" dirty="0" smtClean="0"/>
              <a:t>Example: counting errors</a:t>
            </a:r>
          </a:p>
          <a:p>
            <a:pPr marL="400050" lvl="1" indent="0">
              <a:buNone/>
            </a:pP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Input had " + 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adLinesRDD.count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 + " bad lines")</a:t>
            </a:r>
          </a:p>
          <a:p>
            <a:pPr marL="400050" lvl="1" indent="0">
              <a:buNone/>
            </a:pP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Here are 10 examples:")</a:t>
            </a:r>
          </a:p>
          <a:p>
            <a:pPr marL="400050" lvl="1" indent="0">
              <a:buNone/>
            </a:pP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adLinesRDD.take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10).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oreach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20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8" name="Rounded Rectangular Callout 7"/>
          <p:cNvSpPr/>
          <p:nvPr/>
        </p:nvSpPr>
        <p:spPr>
          <a:xfrm>
            <a:off x="3476064" y="3684494"/>
            <a:ext cx="5318311" cy="1062317"/>
          </a:xfrm>
          <a:prstGeom prst="wedgeRoundRectCallout">
            <a:avLst>
              <a:gd name="adj1" fmla="val -46622"/>
              <a:gd name="adj2" fmla="val -68011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r>
              <a:rPr lang="en-GB" sz="1600" dirty="0" smtClean="0">
                <a:solidFill>
                  <a:schemeClr val="tx1"/>
                </a:solidFill>
              </a:rPr>
              <a:t>Here we use </a:t>
            </a:r>
            <a:r>
              <a:rPr lang="en-GB" sz="1600" dirty="0">
                <a:solidFill>
                  <a:schemeClr val="tx1"/>
                </a:solidFill>
              </a:rPr>
              <a:t>take() to retrieve a small number of elements in the </a:t>
            </a:r>
            <a:r>
              <a:rPr lang="en-GB" sz="1600" dirty="0" smtClean="0">
                <a:solidFill>
                  <a:schemeClr val="tx1"/>
                </a:solidFill>
              </a:rPr>
              <a:t>RDD at </a:t>
            </a:r>
            <a:r>
              <a:rPr lang="en-GB" sz="1600" dirty="0">
                <a:solidFill>
                  <a:schemeClr val="tx1"/>
                </a:solidFill>
              </a:rPr>
              <a:t>the driver program</a:t>
            </a:r>
            <a:r>
              <a:rPr lang="en-GB" sz="160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GB" sz="1600" dirty="0" smtClean="0">
                <a:solidFill>
                  <a:schemeClr val="tx1"/>
                </a:solidFill>
              </a:rPr>
              <a:t> </a:t>
            </a:r>
          </a:p>
          <a:p>
            <a:r>
              <a:rPr lang="en-GB" sz="1600" dirty="0" smtClean="0">
                <a:solidFill>
                  <a:schemeClr val="tx1"/>
                </a:solidFill>
              </a:rPr>
              <a:t>Iteration and print out is performed locally in the driver</a:t>
            </a:r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8462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noProof="0" dirty="0" smtClean="0"/>
              <a:t>Action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1119187"/>
            <a:ext cx="8243888" cy="2020701"/>
          </a:xfrm>
        </p:spPr>
        <p:txBody>
          <a:bodyPr>
            <a:normAutofit/>
          </a:bodyPr>
          <a:lstStyle/>
          <a:p>
            <a:r>
              <a:rPr lang="en-US" sz="2000" noProof="0" dirty="0" smtClean="0"/>
              <a:t>RDDs also have a </a:t>
            </a:r>
            <a:r>
              <a:rPr lang="en-US" sz="2000" b="1" noProof="0" dirty="0" smtClean="0"/>
              <a:t>collect() </a:t>
            </a:r>
            <a:r>
              <a:rPr lang="en-US" sz="2000" noProof="0" dirty="0" smtClean="0"/>
              <a:t>function to retrieve the entire RDD. </a:t>
            </a:r>
          </a:p>
          <a:p>
            <a:r>
              <a:rPr lang="en-US" sz="2000" noProof="0" dirty="0" smtClean="0"/>
              <a:t>This can be useful if your program filters RDDs down to a very small size and you’d like to deal with it locally. </a:t>
            </a:r>
          </a:p>
          <a:p>
            <a:r>
              <a:rPr lang="en-US" sz="2000" b="1" noProof="0" dirty="0" smtClean="0">
                <a:solidFill>
                  <a:srgbClr val="C00000"/>
                </a:solidFill>
              </a:rPr>
              <a:t>Keep in mind </a:t>
            </a:r>
            <a:r>
              <a:rPr lang="en-US" sz="2000" noProof="0" dirty="0" smtClean="0"/>
              <a:t>that your entire dataset </a:t>
            </a:r>
            <a:r>
              <a:rPr lang="en-US" sz="2000" b="1" noProof="0" dirty="0" smtClean="0">
                <a:solidFill>
                  <a:srgbClr val="C00000"/>
                </a:solidFill>
              </a:rPr>
              <a:t>must fit in memory </a:t>
            </a:r>
            <a:r>
              <a:rPr lang="en-US" sz="2000" noProof="0" dirty="0" smtClean="0"/>
              <a:t>on a single machine to use collect()</a:t>
            </a:r>
            <a:endParaRPr lang="en-US" sz="2000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/>
              <a:t>Introduction to spark</a:t>
            </a:r>
          </a:p>
        </p:txBody>
      </p:sp>
    </p:spTree>
    <p:extLst>
      <p:ext uri="{BB962C8B-B14F-4D97-AF65-F5344CB8AC3E}">
        <p14:creationId xmlns:p14="http://schemas.microsoft.com/office/powerpoint/2010/main" val="1314245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noProof="0" dirty="0" smtClean="0"/>
              <a:t>Passing Functions to Spark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775" y="1119187"/>
            <a:ext cx="8243888" cy="3362325"/>
          </a:xfrm>
        </p:spPr>
        <p:txBody>
          <a:bodyPr>
            <a:noAutofit/>
          </a:bodyPr>
          <a:lstStyle/>
          <a:p>
            <a:r>
              <a:rPr lang="en-US" sz="2000" noProof="0" dirty="0" smtClean="0"/>
              <a:t>Most of Spark’s transformations, and some of its actions, depend on passing in functions that are used by Spark to compute data</a:t>
            </a:r>
          </a:p>
          <a:p>
            <a:pPr marL="0" indent="0">
              <a:buNone/>
            </a:pPr>
            <a:endParaRPr lang="en-US" sz="2000" noProof="0" dirty="0" smtClean="0"/>
          </a:p>
          <a:p>
            <a:r>
              <a:rPr lang="en-US" sz="2000" noProof="0" dirty="0" smtClean="0"/>
              <a:t>We can pass in functions defined inline, references to methods, or static functions as we do for Scala’s other functional APIs</a:t>
            </a:r>
          </a:p>
          <a:p>
            <a:pPr marL="0" indent="0">
              <a:buNone/>
            </a:pPr>
            <a:endParaRPr lang="en-US" sz="2000" noProof="0" dirty="0" smtClean="0"/>
          </a:p>
          <a:p>
            <a:r>
              <a:rPr lang="en-US" sz="2000" noProof="0" dirty="0" smtClean="0"/>
              <a:t>The function we pass and the data referenced in it needs to be serializable (@serializable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noProof="0" dirty="0"/>
              <a:t>Introduction to </a:t>
            </a:r>
            <a:r>
              <a:rPr lang="en-US" noProof="0" dirty="0" smtClean="0"/>
              <a:t>spark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83029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noProof="0" dirty="0" smtClean="0"/>
              <a:t>Passing Functions to Spark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9112" y="786090"/>
            <a:ext cx="8599394" cy="4021233"/>
          </a:xfrm>
        </p:spPr>
        <p:txBody>
          <a:bodyPr>
            <a:noAutofit/>
          </a:bodyPr>
          <a:lstStyle/>
          <a:p>
            <a:r>
              <a:rPr lang="en-US" sz="1800" noProof="0" dirty="0" smtClean="0"/>
              <a:t>Passing a method or field of an object to a </a:t>
            </a:r>
            <a:r>
              <a:rPr lang="en-US" sz="1800" i="1" noProof="0" dirty="0" smtClean="0"/>
              <a:t>e.g. </a:t>
            </a:r>
            <a:r>
              <a:rPr lang="en-US" sz="1800" noProof="0" dirty="0" smtClean="0"/>
              <a:t>map of an RDD includes a reference to the whole object. Spark will then send the entire object to all worker nodes. To avoid this overhead, extract the needed fields as local variables</a:t>
            </a:r>
            <a:endParaRPr lang="en-US" sz="1800" b="1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0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lass </a:t>
            </a:r>
            <a:r>
              <a:rPr lang="en-US" sz="12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archFunctions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2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query</a:t>
            </a:r>
            <a:r>
              <a:rPr lang="en-US" sz="12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String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 marL="400050" lvl="1" indent="0">
              <a:buNone/>
            </a:pPr>
            <a:r>
              <a:rPr lang="en-US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etMatchesFunctionReference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dd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RDD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tring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)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RDD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Boolean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 marL="400050" lvl="1" indent="0">
              <a:buNone/>
            </a:pPr>
            <a:r>
              <a:rPr lang="en-US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b="1" i="1" noProof="0" dirty="0" smtClean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Problem</a:t>
            </a:r>
            <a:r>
              <a:rPr lang="en-US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"</a:t>
            </a:r>
            <a:r>
              <a:rPr lang="en-US" i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sMatch</a:t>
            </a:r>
            <a:r>
              <a:rPr lang="en-US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 is a class method, so "</a:t>
            </a:r>
            <a:r>
              <a:rPr lang="en-US" i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his.isMatch</a:t>
            </a:r>
            <a:r>
              <a:rPr lang="en-US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“. All of "this“ is passed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dd.map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sMatch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marL="400050" lvl="1" indent="0">
              <a:buNone/>
            </a:pPr>
            <a:r>
              <a:rPr lang="en-US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etMatchesFieldReference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dd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RDD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tring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)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RDD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Array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tring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] 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 marL="400050" lvl="1" indent="0">
              <a:buNone/>
            </a:pPr>
            <a:r>
              <a:rPr lang="en-US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b="1" i="1" noProof="0" dirty="0" smtClean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Problem: </a:t>
            </a:r>
            <a:r>
              <a:rPr lang="en-US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query" means "</a:t>
            </a:r>
            <a:r>
              <a:rPr lang="en-US" i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his.query</a:t>
            </a:r>
            <a:r>
              <a:rPr lang="en-US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, so we pass all of "this"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dd.map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x 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x.split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query))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marL="400050" lvl="1" indent="0">
              <a:buNone/>
            </a:pPr>
            <a:r>
              <a:rPr lang="en-US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etMatchesNoReference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dd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RDD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tring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)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RDD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Array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tring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] 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 marL="400050" lvl="1" indent="0">
              <a:buNone/>
            </a:pPr>
            <a:r>
              <a:rPr lang="en-US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b="1" i="1" noProof="0" dirty="0" smtClean="0">
                <a:solidFill>
                  <a:srgbClr val="6D9C0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Safe</a:t>
            </a:r>
            <a:r>
              <a:rPr lang="en-US" i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extract just the field we need into a local variable</a:t>
            </a:r>
          </a:p>
          <a:p>
            <a:pPr marL="400050" lvl="1" indent="0">
              <a:buNone/>
            </a:pP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query_ 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his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.query</a:t>
            </a:r>
            <a:endParaRPr lang="en-US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dd.map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x 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x.split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query_))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marL="219075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marL="0" indent="0">
              <a:buNone/>
            </a:pPr>
            <a:endParaRPr lang="en-US" sz="12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noProof="0" dirty="0"/>
              <a:t>Introduction to </a:t>
            </a:r>
            <a:r>
              <a:rPr lang="en-US" noProof="0" dirty="0" smtClean="0"/>
              <a:t>spark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63945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8122" y="802564"/>
            <a:ext cx="6878215" cy="26869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noProof="0" dirty="0" smtClean="0"/>
              <a:t>Common Transformations And Action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2343" y="3180229"/>
            <a:ext cx="6347058" cy="1472453"/>
          </a:xfrm>
        </p:spPr>
        <p:txBody>
          <a:bodyPr>
            <a:normAutofit/>
          </a:bodyPr>
          <a:lstStyle/>
          <a:p>
            <a:r>
              <a:rPr lang="en-US" sz="2400" noProof="0" dirty="0" smtClean="0"/>
              <a:t>Map &amp; Filter</a:t>
            </a:r>
          </a:p>
          <a:p>
            <a:pPr marL="0" indent="0">
              <a:buNone/>
            </a:pPr>
            <a:r>
              <a:rPr lang="en-US" sz="18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8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nput </a:t>
            </a:r>
            <a:r>
              <a:rPr lang="en-US" sz="18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parallelize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8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Lis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1, 2, 3, 4))</a:t>
            </a:r>
          </a:p>
          <a:p>
            <a:pPr marL="0" indent="0">
              <a:buNone/>
            </a:pPr>
            <a:r>
              <a:rPr lang="en-US" sz="18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8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ult </a:t>
            </a:r>
            <a:r>
              <a:rPr lang="en-US" sz="18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put.map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x </a:t>
            </a:r>
            <a:r>
              <a:rPr lang="en-US" sz="18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 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x * x)</a:t>
            </a:r>
          </a:p>
          <a:p>
            <a:pPr marL="0" indent="0">
              <a:buNone/>
            </a:pPr>
            <a:r>
              <a:rPr lang="en-US" sz="18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F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put.filter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x </a:t>
            </a:r>
            <a:r>
              <a:rPr lang="en-US" sz="18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x != 1)</a:t>
            </a:r>
          </a:p>
          <a:p>
            <a:pPr marL="0" indent="0">
              <a:buNone/>
            </a:pPr>
            <a:endParaRPr lang="en-US" sz="18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endParaRPr lang="en-US" sz="18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endParaRPr lang="en-US" sz="18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noProof="0" dirty="0"/>
              <a:t>Introduction to </a:t>
            </a:r>
            <a:r>
              <a:rPr lang="en-US" noProof="0" dirty="0" smtClean="0"/>
              <a:t>spark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39966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noProof="0" dirty="0" smtClean="0"/>
              <a:t>Common Transformations And Action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4936" y="3052483"/>
            <a:ext cx="8243888" cy="1613647"/>
          </a:xfrm>
        </p:spPr>
        <p:txBody>
          <a:bodyPr>
            <a:normAutofit/>
          </a:bodyPr>
          <a:lstStyle/>
          <a:p>
            <a:r>
              <a:rPr lang="en-US" sz="2800" noProof="0" dirty="0" err="1" smtClean="0"/>
              <a:t>Flatmap</a:t>
            </a:r>
            <a:endParaRPr lang="en-US" sz="2800" noProof="0" dirty="0" smtClean="0"/>
          </a:p>
          <a:p>
            <a:pPr marL="0" indent="0">
              <a:buNone/>
            </a:pPr>
            <a:r>
              <a:rPr lang="en-US" sz="18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lines =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parallelize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8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Lis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hello world", "hi"))</a:t>
            </a:r>
          </a:p>
          <a:p>
            <a:pPr marL="0" indent="0">
              <a:buNone/>
            </a:pPr>
            <a:r>
              <a:rPr lang="en-US" sz="18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words =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es.flatMap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line </a:t>
            </a:r>
            <a:r>
              <a:rPr lang="en-US" sz="18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e.spli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 "))</a:t>
            </a:r>
          </a:p>
          <a:p>
            <a:pPr marL="0" indent="0">
              <a:buNone/>
            </a:pP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words.firs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 // returns "hello"</a:t>
            </a:r>
            <a:endParaRPr lang="en-US" sz="18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noProof="0" dirty="0"/>
              <a:t>Introduction to </a:t>
            </a:r>
            <a:r>
              <a:rPr lang="en-US" noProof="0" dirty="0" smtClean="0"/>
              <a:t>spark</a:t>
            </a:r>
            <a:endParaRPr lang="en-US" noProof="0" dirty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649" y="874059"/>
            <a:ext cx="7789821" cy="23128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54647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noProof="0" dirty="0" smtClean="0"/>
              <a:t>Basic RDD transformation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7240" y="839881"/>
            <a:ext cx="3177801" cy="117717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noProof="0" dirty="0" smtClean="0"/>
              <a:t>RDD containing </a:t>
            </a:r>
          </a:p>
          <a:p>
            <a:pPr marL="0" indent="0">
              <a:buNone/>
            </a:pPr>
            <a:r>
              <a:rPr lang="en-US" sz="2000" noProof="0" dirty="0" smtClean="0"/>
              <a:t>{1, 2, 3, 3}</a:t>
            </a:r>
          </a:p>
          <a:p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noProof="0" dirty="0"/>
              <a:t>Introduction to </a:t>
            </a:r>
            <a:r>
              <a:rPr lang="en-US" noProof="0" dirty="0" smtClean="0"/>
              <a:t>spark </a:t>
            </a:r>
            <a:endParaRPr lang="en-US" noProof="0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5593" y="806259"/>
            <a:ext cx="7071511" cy="39824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4736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noProof="0" dirty="0" smtClean="0"/>
              <a:t>Two-RDD transformation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1148" y="862918"/>
            <a:ext cx="6481528" cy="41455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noProof="0" dirty="0" smtClean="0"/>
              <a:t>Two RDDs containing  {1, 2, 3} and {3, 4, 5}</a:t>
            </a:r>
          </a:p>
          <a:p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/>
              <a:t>Introduction to spark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710" y="1343964"/>
            <a:ext cx="8932390" cy="33625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31513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45260"/>
          </a:xfrm>
        </p:spPr>
        <p:txBody>
          <a:bodyPr/>
          <a:lstStyle/>
          <a:p>
            <a:r>
              <a:rPr lang="en-US" sz="2800" noProof="0" dirty="0" smtClean="0"/>
              <a:t>Scope of the course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55" name="Inhaltsplatzhalter 5"/>
          <p:cNvSpPr>
            <a:spLocks noGrp="1"/>
          </p:cNvSpPr>
          <p:nvPr>
            <p:ph idx="1"/>
          </p:nvPr>
        </p:nvSpPr>
        <p:spPr>
          <a:xfrm>
            <a:off x="438150" y="910756"/>
            <a:ext cx="4523815" cy="3311619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800" b="0" noProof="0" dirty="0" smtClean="0"/>
              <a:t>Introduction to Spark with:</a:t>
            </a:r>
            <a:endParaRPr lang="en-US" sz="1800" b="0" noProof="0" dirty="0" smtClean="0"/>
          </a:p>
          <a:p>
            <a:pPr lvl="1"/>
            <a:r>
              <a:rPr lang="en-US" sz="1600" noProof="0" dirty="0" smtClean="0"/>
              <a:t>Lectures</a:t>
            </a:r>
          </a:p>
          <a:p>
            <a:pPr lvl="1"/>
            <a:r>
              <a:rPr lang="en-US" altLang="de-DE" sz="1600" noProof="0" dirty="0" smtClean="0"/>
              <a:t>Hands-on exercises</a:t>
            </a:r>
          </a:p>
          <a:p>
            <a:pPr lvl="1"/>
            <a:r>
              <a:rPr lang="en-US" altLang="de-DE" sz="1600" noProof="0" dirty="0" smtClean="0"/>
              <a:t>Virtual Machine</a:t>
            </a:r>
          </a:p>
          <a:p>
            <a:pPr lvl="1"/>
            <a:r>
              <a:rPr lang="es-ES" altLang="de-DE" sz="1600" dirty="0" smtClean="0"/>
              <a:t>And </a:t>
            </a:r>
            <a:r>
              <a:rPr lang="es-ES" altLang="de-DE" sz="1600" dirty="0" err="1" smtClean="0"/>
              <a:t>much</a:t>
            </a:r>
            <a:r>
              <a:rPr lang="es-ES" altLang="de-DE" sz="1600" dirty="0" smtClean="0"/>
              <a:t> more …</a:t>
            </a:r>
            <a:endParaRPr lang="en-US" altLang="de-DE" sz="1600" noProof="0" dirty="0" smtClean="0"/>
          </a:p>
          <a:p>
            <a:pPr lvl="1">
              <a:spcBef>
                <a:spcPts val="0"/>
              </a:spcBef>
            </a:pPr>
            <a:endParaRPr lang="en-US" altLang="de-DE" sz="1600" noProof="0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sz="1800" noProof="0" dirty="0" smtClean="0"/>
              <a:t>Course </a:t>
            </a:r>
            <a:r>
              <a:rPr lang="en-US" altLang="de-DE" sz="1800" noProof="0" dirty="0" smtClean="0"/>
              <a:t>Materials available in GitHub</a:t>
            </a:r>
            <a:endParaRPr lang="en-US" altLang="de-DE" sz="1800" b="1" noProof="0" dirty="0" smtClean="0"/>
          </a:p>
          <a:p>
            <a:pPr marL="179388" lvl="1" indent="0">
              <a:buNone/>
            </a:pPr>
            <a:endParaRPr lang="en-US" sz="1600" noProof="0" dirty="0" smtClean="0"/>
          </a:p>
          <a:p>
            <a:pPr marL="179388" lvl="1" indent="0">
              <a:buNone/>
            </a:pPr>
            <a:r>
              <a:rPr lang="en-US" altLang="de-DE" sz="1100" dirty="0"/>
              <a:t>https://github.com/chicochica10/spark-scala-developer</a:t>
            </a:r>
            <a:endParaRPr lang="en-US" altLang="de-DE" sz="1100" dirty="0"/>
          </a:p>
        </p:txBody>
      </p:sp>
      <p:sp>
        <p:nvSpPr>
          <p:cNvPr id="2" name="Rounded Rectangle 1"/>
          <p:cNvSpPr/>
          <p:nvPr/>
        </p:nvSpPr>
        <p:spPr>
          <a:xfrm>
            <a:off x="625289" y="4289612"/>
            <a:ext cx="3691216" cy="369794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alpha val="75000"/>
            </a:schemeClr>
          </a:solidFill>
          <a:ln w="508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Contact </a:t>
            </a:r>
            <a:r>
              <a:rPr lang="en-US" b="1" dirty="0" smtClean="0">
                <a:solidFill>
                  <a:schemeClr val="bg1"/>
                </a:solidFill>
              </a:rPr>
              <a:t>me if </a:t>
            </a:r>
            <a:r>
              <a:rPr lang="en-US" b="1" dirty="0" smtClean="0">
                <a:solidFill>
                  <a:schemeClr val="bg1"/>
                </a:solidFill>
              </a:rPr>
              <a:t>you need help !!</a:t>
            </a:r>
          </a:p>
        </p:txBody>
      </p:sp>
    </p:spTree>
    <p:extLst>
      <p:ext uri="{BB962C8B-B14F-4D97-AF65-F5344CB8AC3E}">
        <p14:creationId xmlns:p14="http://schemas.microsoft.com/office/powerpoint/2010/main" val="2587122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noProof="0" dirty="0" smtClean="0"/>
              <a:t>RDD Basic Action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638" y="830077"/>
            <a:ext cx="8243888" cy="34654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noProof="0" dirty="0" smtClean="0"/>
              <a:t>RDD contains {1, 2, 3, 3} </a:t>
            </a:r>
          </a:p>
          <a:p>
            <a:endParaRPr lang="en-US" sz="20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/>
              <a:t>Introduction to spark</a:t>
            </a: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81" y="1183343"/>
            <a:ext cx="8853634" cy="3240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2826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noProof="0" dirty="0" smtClean="0"/>
              <a:t>RDD Other Action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8042" y="883864"/>
            <a:ext cx="1546458" cy="77012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400" noProof="0" dirty="0" smtClean="0"/>
              <a:t>RDD</a:t>
            </a:r>
          </a:p>
          <a:p>
            <a:pPr marL="0" indent="0">
              <a:buNone/>
            </a:pPr>
            <a:r>
              <a:rPr lang="en-US" sz="2400" noProof="0" dirty="0" smtClean="0"/>
              <a:t>{1, 2, 3, 3} </a:t>
            </a:r>
            <a:endParaRPr lang="en-US" sz="24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/>
              <a:t>Introduction to spark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227837" y="820270"/>
            <a:ext cx="6701009" cy="39130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46071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noProof="0" dirty="0" smtClean="0"/>
              <a:t>RDD Other Actions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/>
              <a:t>Introduction to spark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842256" y="843520"/>
            <a:ext cx="7236227" cy="31936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168042" y="883864"/>
            <a:ext cx="1546458" cy="77012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400" noProof="0" dirty="0" smtClean="0"/>
              <a:t>RDD</a:t>
            </a:r>
          </a:p>
          <a:p>
            <a:pPr marL="0" indent="0">
              <a:buNone/>
            </a:pPr>
            <a:r>
              <a:rPr lang="en-US" sz="2400" noProof="0" dirty="0" smtClean="0"/>
              <a:t>{1, 2, 3, 3} </a:t>
            </a:r>
            <a:endParaRPr lang="en-US" sz="2400" noProof="0" dirty="0"/>
          </a:p>
        </p:txBody>
      </p:sp>
    </p:spTree>
    <p:extLst>
      <p:ext uri="{BB962C8B-B14F-4D97-AF65-F5344CB8AC3E}">
        <p14:creationId xmlns:p14="http://schemas.microsoft.com/office/powerpoint/2010/main" val="1547257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noProof="0" dirty="0" smtClean="0"/>
              <a:t>Key/Value Pairs RDDs</a:t>
            </a:r>
            <a:endParaRPr lang="en-US" noProof="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43706" y="900953"/>
            <a:ext cx="8505311" cy="3711388"/>
          </a:xfrm>
        </p:spPr>
        <p:txBody>
          <a:bodyPr>
            <a:normAutofit lnSpcReduction="10000"/>
          </a:bodyPr>
          <a:lstStyle/>
          <a:p>
            <a:r>
              <a:rPr lang="en-US" sz="2000" noProof="0" dirty="0" smtClean="0"/>
              <a:t>Spark provides special operations on RDDs containing </a:t>
            </a:r>
            <a:r>
              <a:rPr lang="en-US" sz="2000" b="1" noProof="0" dirty="0" smtClean="0"/>
              <a:t>(key, value) </a:t>
            </a:r>
            <a:r>
              <a:rPr lang="en-US" sz="2000" noProof="0" dirty="0" smtClean="0"/>
              <a:t>pairs</a:t>
            </a:r>
          </a:p>
          <a:p>
            <a:pPr marL="0" indent="0">
              <a:buNone/>
            </a:pPr>
            <a:endParaRPr lang="en-US" sz="2000" noProof="0" dirty="0" smtClean="0"/>
          </a:p>
          <a:p>
            <a:r>
              <a:rPr lang="en-US" sz="2000" dirty="0"/>
              <a:t>T</a:t>
            </a:r>
            <a:r>
              <a:rPr lang="en-US" sz="2000" noProof="0" dirty="0" smtClean="0"/>
              <a:t>hey expose operations that allow you to </a:t>
            </a:r>
            <a:r>
              <a:rPr lang="en-US" sz="2000" b="1" noProof="0" dirty="0" smtClean="0"/>
              <a:t>act on each key </a:t>
            </a:r>
            <a:r>
              <a:rPr lang="en-US" sz="2000" noProof="0" dirty="0" smtClean="0"/>
              <a:t>in parallel, </a:t>
            </a:r>
            <a:r>
              <a:rPr lang="en-US" sz="2000" b="1" noProof="0" dirty="0" smtClean="0"/>
              <a:t>regroup</a:t>
            </a:r>
            <a:r>
              <a:rPr lang="en-US" sz="2000" noProof="0" dirty="0" smtClean="0"/>
              <a:t> or </a:t>
            </a:r>
            <a:r>
              <a:rPr lang="en-US" sz="2000" b="1" noProof="0" dirty="0" smtClean="0"/>
              <a:t>aggregate</a:t>
            </a:r>
            <a:r>
              <a:rPr lang="en-US" sz="2000" noProof="0" dirty="0" smtClean="0"/>
              <a:t> data across the network.</a:t>
            </a:r>
          </a:p>
          <a:p>
            <a:r>
              <a:rPr lang="en-US" sz="2000" noProof="0" dirty="0" smtClean="0"/>
              <a:t>Many formats loading return pair RDDs for key/value data.</a:t>
            </a:r>
          </a:p>
          <a:p>
            <a:r>
              <a:rPr lang="en-US" sz="2000" noProof="0" dirty="0" smtClean="0"/>
              <a:t>Parallelize (for testing and </a:t>
            </a:r>
            <a:r>
              <a:rPr lang="en-US" sz="2000" noProof="0" dirty="0" err="1" smtClean="0"/>
              <a:t>pocs</a:t>
            </a:r>
            <a:r>
              <a:rPr lang="en-US" sz="2000" noProof="0" dirty="0" smtClean="0"/>
              <a:t>)</a:t>
            </a:r>
          </a:p>
          <a:p>
            <a:pPr marL="857250" lvl="2" indent="0">
              <a:buNone/>
            </a:pP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pairs = 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parallelize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(List((1,”a”),(2,”b”),(3,”c”)))</a:t>
            </a:r>
          </a:p>
          <a:p>
            <a:r>
              <a:rPr lang="en-US" sz="2000" noProof="0" dirty="0" smtClean="0"/>
              <a:t>Running transformations over regular RDDs</a:t>
            </a:r>
          </a:p>
          <a:p>
            <a:pPr marL="857250" lvl="2" indent="0">
              <a:buNone/>
            </a:pP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pair RDD using the first word as the key</a:t>
            </a:r>
            <a:endParaRPr lang="en-US" sz="2000" noProof="0" dirty="0" smtClean="0"/>
          </a:p>
          <a:p>
            <a:pPr marL="857250" lvl="2" indent="0">
              <a:buNone/>
            </a:pPr>
            <a:r>
              <a:rPr lang="en-US" sz="20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0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pairs </a:t>
            </a:r>
            <a:r>
              <a:rPr lang="en-US" sz="20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es.map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x </a:t>
            </a:r>
            <a:r>
              <a:rPr lang="en-US" sz="20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 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x.split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 ")(0), x)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/>
              <a:t>Introduction to spark</a:t>
            </a:r>
          </a:p>
        </p:txBody>
      </p:sp>
    </p:spTree>
    <p:extLst>
      <p:ext uri="{BB962C8B-B14F-4D97-AF65-F5344CB8AC3E}">
        <p14:creationId xmlns:p14="http://schemas.microsoft.com/office/powerpoint/2010/main" val="2565059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air RDD Operation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4424" y="924894"/>
            <a:ext cx="8619611" cy="413088"/>
          </a:xfrm>
        </p:spPr>
        <p:txBody>
          <a:bodyPr/>
          <a:lstStyle/>
          <a:p>
            <a:pPr marL="0" indent="0">
              <a:buNone/>
            </a:pPr>
            <a:r>
              <a:rPr lang="en-US" sz="2000" b="1" noProof="0" dirty="0" smtClean="0"/>
              <a:t>Transformations</a:t>
            </a:r>
            <a:r>
              <a:rPr lang="en-US" sz="2000" noProof="0" dirty="0" smtClean="0"/>
              <a:t> on </a:t>
            </a:r>
            <a:r>
              <a:rPr lang="en-US" sz="2000" b="1" noProof="0" dirty="0" smtClean="0"/>
              <a:t>one</a:t>
            </a:r>
            <a:r>
              <a:rPr lang="en-US" sz="2000" noProof="0" dirty="0" smtClean="0"/>
              <a:t> pair RDD: {(1, 2), (3, 4), (3, 6)}</a:t>
            </a:r>
          </a:p>
          <a:p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/>
              <a:t>Introduction to spark</a:t>
            </a:r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643531" y="1337981"/>
            <a:ext cx="7231433" cy="3449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5839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air RDD Operation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4424" y="924894"/>
            <a:ext cx="8585994" cy="392918"/>
          </a:xfrm>
        </p:spPr>
        <p:txBody>
          <a:bodyPr/>
          <a:lstStyle/>
          <a:p>
            <a:pPr marL="0" indent="0">
              <a:buNone/>
            </a:pPr>
            <a:r>
              <a:rPr lang="en-US" sz="2000" b="1" noProof="0" dirty="0" smtClean="0"/>
              <a:t>Transformations</a:t>
            </a:r>
            <a:r>
              <a:rPr lang="en-US" sz="2000" noProof="0" dirty="0" smtClean="0"/>
              <a:t> on </a:t>
            </a:r>
            <a:r>
              <a:rPr lang="en-US" sz="2000" b="1" noProof="0" dirty="0" smtClean="0"/>
              <a:t>one</a:t>
            </a:r>
            <a:r>
              <a:rPr lang="en-US" sz="2000" noProof="0" dirty="0" smtClean="0"/>
              <a:t> pair RDD: {(1, 2), (3, 4), (3, 6)}</a:t>
            </a:r>
          </a:p>
          <a:p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/>
              <a:t>Introduction to spark</a:t>
            </a:r>
          </a:p>
        </p:txBody>
      </p:sp>
      <p:pic>
        <p:nvPicPr>
          <p:cNvPr id="13316" name="Picture 4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469341" y="1317812"/>
            <a:ext cx="5334977" cy="349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24314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air RDD Operation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6" y="843523"/>
            <a:ext cx="8552375" cy="39360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1" noProof="0" dirty="0" smtClean="0"/>
              <a:t>Two</a:t>
            </a:r>
            <a:r>
              <a:rPr lang="en-US" sz="2000" noProof="0" dirty="0" smtClean="0"/>
              <a:t> RDDs of Paris </a:t>
            </a:r>
            <a:r>
              <a:rPr lang="en-US" sz="2000" b="1" noProof="0" dirty="0" err="1" smtClean="0"/>
              <a:t>rdd</a:t>
            </a:r>
            <a:r>
              <a:rPr lang="en-US" sz="2000" noProof="0" dirty="0" smtClean="0"/>
              <a:t> = {(1, 2), (3, 4), (3, 6)} </a:t>
            </a:r>
            <a:r>
              <a:rPr lang="en-US" sz="2000" b="1" noProof="0" dirty="0" smtClean="0"/>
              <a:t>other</a:t>
            </a:r>
            <a:r>
              <a:rPr lang="en-US" sz="2000" noProof="0" dirty="0" smtClean="0"/>
              <a:t> = {(3, 9)})</a:t>
            </a:r>
          </a:p>
          <a:p>
            <a:endParaRPr lang="en-US" sz="20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/>
              <a:t>Introduction to spark</a:t>
            </a: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489" y="1167811"/>
            <a:ext cx="6660423" cy="3565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29913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air RDD Operation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5995" y="870417"/>
            <a:ext cx="8243888" cy="494459"/>
          </a:xfrm>
        </p:spPr>
        <p:txBody>
          <a:bodyPr/>
          <a:lstStyle/>
          <a:p>
            <a:pPr marL="0" indent="0">
              <a:buNone/>
            </a:pPr>
            <a:r>
              <a:rPr lang="en-US" sz="2400" b="1" noProof="0" dirty="0" smtClean="0"/>
              <a:t>Actions</a:t>
            </a:r>
            <a:r>
              <a:rPr lang="en-US" sz="2400" noProof="0" dirty="0" smtClean="0"/>
              <a:t> on (key, value) RDDs {(1, 2), (3, 4), (3, 6)}</a:t>
            </a:r>
          </a:p>
          <a:p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/>
              <a:t>Introduction to spark</a:t>
            </a:r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102" y="1437624"/>
            <a:ext cx="8702504" cy="279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18036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45260"/>
          </a:xfrm>
        </p:spPr>
        <p:txBody>
          <a:bodyPr/>
          <a:lstStyle/>
          <a:p>
            <a:r>
              <a:rPr lang="en-US" sz="2800" noProof="0" dirty="0" smtClean="0"/>
              <a:t>Exercises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55" name="Inhaltsplatzhalter 5"/>
          <p:cNvSpPr>
            <a:spLocks noGrp="1"/>
          </p:cNvSpPr>
          <p:nvPr>
            <p:ph idx="1"/>
          </p:nvPr>
        </p:nvSpPr>
        <p:spPr>
          <a:xfrm>
            <a:off x="444503" y="1341062"/>
            <a:ext cx="7933015" cy="2013979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3200" b="1" noProof="0" dirty="0" smtClean="0"/>
              <a:t>Exercise 3</a:t>
            </a:r>
            <a:r>
              <a:rPr lang="en-US" sz="3200" b="0" noProof="0" dirty="0" smtClean="0"/>
              <a:t> </a:t>
            </a:r>
            <a:r>
              <a:rPr lang="en-US" sz="3200" b="0" noProof="0" dirty="0" err="1" smtClean="0"/>
              <a:t>WordCount</a:t>
            </a:r>
            <a:r>
              <a:rPr lang="en-US" sz="3200" b="0" noProof="0" dirty="0" smtClean="0"/>
              <a:t> Spark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3200" b="1" dirty="0" smtClean="0"/>
              <a:t>Exercise 4</a:t>
            </a:r>
            <a:r>
              <a:rPr lang="en-US" sz="3200" dirty="0" smtClean="0"/>
              <a:t> Top-10 </a:t>
            </a:r>
            <a:r>
              <a:rPr lang="en-US" sz="3200" dirty="0" err="1" smtClean="0"/>
              <a:t>WordCount</a:t>
            </a:r>
            <a:endParaRPr lang="en-US" sz="32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3200" b="1" dirty="0" smtClean="0"/>
              <a:t>Exercise 5 </a:t>
            </a:r>
            <a:r>
              <a:rPr lang="en-US" sz="3200" dirty="0" smtClean="0"/>
              <a:t>Aggregation by Key</a:t>
            </a:r>
            <a:endParaRPr lang="en-US" sz="3200" b="1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3200" b="1" dirty="0" smtClean="0"/>
              <a:t>Exercise 6</a:t>
            </a:r>
            <a:r>
              <a:rPr lang="en-US" sz="3200" dirty="0" smtClean="0"/>
              <a:t> Combine RDDs </a:t>
            </a:r>
            <a:endParaRPr lang="en-US" sz="3200" b="0" noProof="0" dirty="0" smtClean="0"/>
          </a:p>
        </p:txBody>
      </p:sp>
    </p:spTree>
    <p:extLst>
      <p:ext uri="{BB962C8B-B14F-4D97-AF65-F5344CB8AC3E}">
        <p14:creationId xmlns:p14="http://schemas.microsoft.com/office/powerpoint/2010/main" val="2977489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ersistence (caching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264" y="904034"/>
            <a:ext cx="8243888" cy="3795713"/>
          </a:xfrm>
        </p:spPr>
        <p:txBody>
          <a:bodyPr>
            <a:noAutofit/>
          </a:bodyPr>
          <a:lstStyle/>
          <a:p>
            <a:r>
              <a:rPr lang="en-US" sz="2000" dirty="0" smtClean="0"/>
              <a:t>Remember: in Spark the RDD is computed again each time an </a:t>
            </a:r>
            <a:r>
              <a:rPr lang="en-US" sz="2000" b="1" dirty="0" smtClean="0"/>
              <a:t>action</a:t>
            </a:r>
            <a:r>
              <a:rPr lang="en-US" sz="2000" dirty="0" smtClean="0"/>
              <a:t> is called</a:t>
            </a:r>
          </a:p>
          <a:p>
            <a:pPr marL="400050" lvl="1" indent="0">
              <a:buNone/>
            </a:pPr>
            <a:r>
              <a:rPr lang="en-US" sz="20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0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ult </a:t>
            </a:r>
            <a:r>
              <a:rPr lang="en-US" sz="20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2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put.map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x </a:t>
            </a:r>
            <a:r>
              <a:rPr lang="en-US" sz="20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 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x*x)</a:t>
            </a:r>
          </a:p>
          <a:p>
            <a:pPr marL="400050" lvl="1" indent="0">
              <a:buNone/>
            </a:pP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en-US" sz="20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persist</a:t>
            </a:r>
            <a:r>
              <a:rPr lang="en-US" sz="20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en-US" sz="20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orageLevel.LEVEL</a:t>
            </a:r>
            <a:r>
              <a:rPr lang="en-US" sz="20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400050" lvl="1" indent="0">
              <a:buNone/>
            </a:pPr>
            <a:r>
              <a:rPr lang="en-US" sz="2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2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count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</a:p>
          <a:p>
            <a:pPr marL="400050" lvl="1" indent="0">
              <a:buNone/>
            </a:pPr>
            <a:r>
              <a:rPr lang="en-US" sz="2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2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collect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en-US" sz="2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kString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,"))</a:t>
            </a:r>
          </a:p>
          <a:p>
            <a:r>
              <a:rPr lang="en-US" sz="2000" dirty="0" smtClean="0"/>
              <a:t>To avoid this we can persist the data, </a:t>
            </a:r>
            <a:r>
              <a:rPr lang="en-US" sz="2000" b="1" dirty="0" smtClean="0"/>
              <a:t>especially with iterative algorithms</a:t>
            </a:r>
            <a:r>
              <a:rPr lang="en-US" sz="2000" dirty="0" smtClean="0"/>
              <a:t>. </a:t>
            </a:r>
          </a:p>
          <a:p>
            <a:r>
              <a:rPr lang="en-US" sz="2000" dirty="0" smtClean="0"/>
              <a:t>Each node stores their partitions of the RDD</a:t>
            </a:r>
          </a:p>
          <a:p>
            <a:r>
              <a:rPr lang="en-US" sz="2000" dirty="0" smtClean="0"/>
              <a:t>the default </a:t>
            </a:r>
            <a:r>
              <a:rPr lang="en-US" sz="2000" b="1" dirty="0" smtClean="0"/>
              <a:t>persist() </a:t>
            </a:r>
            <a:r>
              <a:rPr lang="en-US" sz="2000" dirty="0" smtClean="0"/>
              <a:t>will store the data in the JVM heap (memory) as </a:t>
            </a:r>
            <a:r>
              <a:rPr lang="en-US" sz="2000" b="1" dirty="0" err="1" smtClean="0"/>
              <a:t>unserialized</a:t>
            </a:r>
            <a:r>
              <a:rPr lang="en-US" sz="2000" dirty="0" smtClean="0"/>
              <a:t> objects</a:t>
            </a:r>
          </a:p>
          <a:p>
            <a:pPr marL="0" indent="0">
              <a:buNone/>
            </a:pPr>
            <a:endParaRPr lang="en-US" sz="2000" dirty="0" smtClean="0"/>
          </a:p>
          <a:p>
            <a:endParaRPr lang="en-US" sz="2000" i="1" dirty="0" smtClean="0"/>
          </a:p>
          <a:p>
            <a:endParaRPr lang="en-US" sz="2000" i="1" dirty="0" smtClean="0"/>
          </a:p>
          <a:p>
            <a:endParaRPr lang="en-US" sz="2000" i="1" dirty="0" smtClean="0"/>
          </a:p>
          <a:p>
            <a:endParaRPr lang="en-US" sz="2000" i="1" dirty="0" smtClean="0"/>
          </a:p>
          <a:p>
            <a:endParaRPr lang="en-US" sz="2000" i="1" dirty="0" smtClean="0"/>
          </a:p>
          <a:p>
            <a:endParaRPr lang="en-US" sz="2000" i="1" dirty="0" smtClean="0"/>
          </a:p>
          <a:p>
            <a:endParaRPr lang="en-US" sz="2000" i="1" dirty="0" smtClean="0"/>
          </a:p>
          <a:p>
            <a:endParaRPr lang="en-US" sz="2000" i="1" dirty="0" smtClean="0"/>
          </a:p>
          <a:p>
            <a:endParaRPr lang="en-US" sz="2000" i="1" dirty="0" smtClean="0"/>
          </a:p>
          <a:p>
            <a:endParaRPr lang="en-US" sz="2000" b="1" i="1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328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942975" y="1941508"/>
            <a:ext cx="6589313" cy="615553"/>
          </a:xfrm>
        </p:spPr>
        <p:txBody>
          <a:bodyPr/>
          <a:lstStyle/>
          <a:p>
            <a:r>
              <a:rPr lang="en-US" noProof="0" dirty="0" smtClean="0"/>
              <a:t>2. Spark core concepts</a:t>
            </a:r>
          </a:p>
        </p:txBody>
      </p:sp>
    </p:spTree>
    <p:extLst>
      <p:ext uri="{BB962C8B-B14F-4D97-AF65-F5344CB8AC3E}">
        <p14:creationId xmlns:p14="http://schemas.microsoft.com/office/powerpoint/2010/main" val="2876419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ersistence (caching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37652"/>
            <a:ext cx="8243888" cy="3362325"/>
          </a:xfrm>
        </p:spPr>
        <p:txBody>
          <a:bodyPr>
            <a:noAutofit/>
          </a:bodyPr>
          <a:lstStyle/>
          <a:p>
            <a:r>
              <a:rPr lang="en-US" sz="2000" dirty="0" smtClean="0"/>
              <a:t>If a node that has data persisted on it fails, Spark will </a:t>
            </a:r>
            <a:r>
              <a:rPr lang="en-US" sz="2000" dirty="0" err="1" smtClean="0"/>
              <a:t>recompute</a:t>
            </a:r>
            <a:r>
              <a:rPr lang="en-US" sz="2000" dirty="0" smtClean="0"/>
              <a:t> the lost partitions of the data as needed.</a:t>
            </a:r>
          </a:p>
          <a:p>
            <a:r>
              <a:rPr lang="en-US" sz="2000" dirty="0" smtClean="0"/>
              <a:t>If you attempt to cache too much data to fit in memory, Spark will automatically evict old partitions using a Least Recently Used (</a:t>
            </a:r>
            <a:r>
              <a:rPr lang="en-US" sz="2000" b="1" dirty="0" smtClean="0"/>
              <a:t>LRU</a:t>
            </a:r>
            <a:r>
              <a:rPr lang="en-US" sz="2000" dirty="0" smtClean="0"/>
              <a:t>) cache policy.</a:t>
            </a:r>
          </a:p>
          <a:p>
            <a:r>
              <a:rPr lang="en-US" sz="2000" dirty="0" smtClean="0"/>
              <a:t>RDDs come with a method called </a:t>
            </a:r>
            <a:r>
              <a:rPr lang="en-US" sz="2000" b="1" dirty="0" err="1" smtClean="0"/>
              <a:t>unpersist</a:t>
            </a:r>
            <a:r>
              <a:rPr lang="en-US" sz="2000" dirty="0" smtClean="0"/>
              <a:t>() that lets you manually remove them from the cache</a:t>
            </a:r>
          </a:p>
          <a:p>
            <a:endParaRPr lang="en-US" sz="2000" dirty="0" smtClean="0"/>
          </a:p>
          <a:p>
            <a:endParaRPr lang="en-US" sz="2000" i="1" dirty="0" smtClean="0"/>
          </a:p>
          <a:p>
            <a:endParaRPr lang="en-US" sz="2000" i="1" dirty="0" smtClean="0"/>
          </a:p>
          <a:p>
            <a:endParaRPr lang="en-US" sz="2000" i="1" dirty="0" smtClean="0"/>
          </a:p>
          <a:p>
            <a:endParaRPr lang="en-US" sz="2000" i="1" dirty="0" smtClean="0"/>
          </a:p>
          <a:p>
            <a:endParaRPr lang="en-US" sz="2000" i="1" dirty="0" smtClean="0"/>
          </a:p>
          <a:p>
            <a:endParaRPr lang="en-US" sz="2000" i="1" dirty="0" smtClean="0"/>
          </a:p>
          <a:p>
            <a:endParaRPr lang="en-US" sz="2000" i="1" dirty="0" smtClean="0"/>
          </a:p>
          <a:p>
            <a:endParaRPr lang="en-US" sz="2000" i="1" dirty="0" smtClean="0"/>
          </a:p>
          <a:p>
            <a:endParaRPr lang="en-US" sz="2000" i="1" dirty="0" smtClean="0"/>
          </a:p>
          <a:p>
            <a:endParaRPr lang="en-US" sz="2000" b="1" i="1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812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dirty="0" smtClean="0"/>
              <a:t>Persistence Level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park</a:t>
            </a:r>
            <a:endParaRPr lang="en-US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338" y="984716"/>
            <a:ext cx="8486706" cy="28745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315338" y="3942914"/>
            <a:ext cx="848670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i="1" dirty="0"/>
              <a:t>cache()</a:t>
            </a:r>
            <a:r>
              <a:rPr lang="en-US" sz="2000" b="1" dirty="0"/>
              <a:t> </a:t>
            </a:r>
            <a:r>
              <a:rPr lang="en-US" sz="2000" dirty="0"/>
              <a:t>= </a:t>
            </a:r>
            <a:r>
              <a:rPr lang="en-US" sz="2000" i="1" dirty="0"/>
              <a:t>persist(</a:t>
            </a:r>
            <a:r>
              <a:rPr lang="en-US" sz="2000" i="1" dirty="0" err="1"/>
              <a:t>StorageLevel.MEMORY_ONLY</a:t>
            </a:r>
            <a:r>
              <a:rPr lang="en-US" sz="2000" i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07239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dirty="0" smtClean="0"/>
              <a:t>Persistence Level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70417"/>
            <a:ext cx="4578769" cy="3748648"/>
          </a:xfrm>
        </p:spPr>
        <p:txBody>
          <a:bodyPr>
            <a:noAutofit/>
          </a:bodyPr>
          <a:lstStyle/>
          <a:p>
            <a:r>
              <a:rPr lang="en-US" sz="2000" dirty="0" smtClean="0"/>
              <a:t>Which storage level to choose?</a:t>
            </a:r>
          </a:p>
          <a:p>
            <a:pPr lvl="1"/>
            <a:r>
              <a:rPr lang="en-US" sz="2000" dirty="0" smtClean="0"/>
              <a:t>Use </a:t>
            </a:r>
            <a:r>
              <a:rPr lang="en-US" sz="2000" b="1" dirty="0" smtClean="0"/>
              <a:t>MEMORY_ONLY</a:t>
            </a:r>
            <a:r>
              <a:rPr lang="en-US" sz="2000" dirty="0" smtClean="0"/>
              <a:t> if  there is memory enough</a:t>
            </a:r>
          </a:p>
          <a:p>
            <a:pPr lvl="1"/>
            <a:r>
              <a:rPr lang="en-US" sz="2000" dirty="0" smtClean="0"/>
              <a:t>If not </a:t>
            </a:r>
            <a:r>
              <a:rPr lang="en-US" sz="2000" b="1" dirty="0" smtClean="0"/>
              <a:t>MEMORY_ONLY_SER</a:t>
            </a:r>
          </a:p>
          <a:p>
            <a:pPr lvl="1"/>
            <a:r>
              <a:rPr lang="en-US" sz="2000" dirty="0" smtClean="0"/>
              <a:t>Spill to disk only if</a:t>
            </a:r>
          </a:p>
          <a:p>
            <a:pPr lvl="2"/>
            <a:r>
              <a:rPr lang="en-US" sz="2000" dirty="0" smtClean="0"/>
              <a:t>the functions that computed your RDDs are expensive</a:t>
            </a:r>
          </a:p>
          <a:p>
            <a:pPr lvl="2"/>
            <a:r>
              <a:rPr lang="en-US" sz="2000" dirty="0" smtClean="0"/>
              <a:t>or they filter a large amount of the data</a:t>
            </a:r>
          </a:p>
          <a:p>
            <a:pPr lvl="2"/>
            <a:r>
              <a:rPr lang="en-US" sz="2000" dirty="0" smtClean="0"/>
              <a:t>Otherwise, re computing a partition is faster than reading from disk</a:t>
            </a:r>
          </a:p>
          <a:p>
            <a:endParaRPr lang="en-US" sz="11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park</a:t>
            </a: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103286" y="991439"/>
            <a:ext cx="3752398" cy="28745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68423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45260"/>
          </a:xfrm>
        </p:spPr>
        <p:txBody>
          <a:bodyPr/>
          <a:lstStyle/>
          <a:p>
            <a:r>
              <a:rPr lang="en-US" sz="2800" noProof="0" dirty="0" smtClean="0"/>
              <a:t>Exercises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55" name="Inhaltsplatzhalter 5"/>
          <p:cNvSpPr>
            <a:spLocks noGrp="1"/>
          </p:cNvSpPr>
          <p:nvPr>
            <p:ph idx="1"/>
          </p:nvPr>
        </p:nvSpPr>
        <p:spPr>
          <a:xfrm>
            <a:off x="444503" y="1341062"/>
            <a:ext cx="7933015" cy="2013979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3200" b="1" noProof="0" dirty="0" smtClean="0"/>
              <a:t>Exercise 7</a:t>
            </a:r>
            <a:r>
              <a:rPr lang="en-US" sz="3200" dirty="0" smtClean="0"/>
              <a:t> Data Mining with </a:t>
            </a:r>
            <a:r>
              <a:rPr lang="en-US" sz="3200" dirty="0" err="1" smtClean="0"/>
              <a:t>MovieLens</a:t>
            </a:r>
            <a:endParaRPr lang="en-US" sz="3200" b="0" noProof="0" dirty="0" smtClean="0"/>
          </a:p>
        </p:txBody>
      </p:sp>
    </p:spTree>
    <p:extLst>
      <p:ext uri="{BB962C8B-B14F-4D97-AF65-F5344CB8AC3E}">
        <p14:creationId xmlns:p14="http://schemas.microsoft.com/office/powerpoint/2010/main" val="3993684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dirty="0" smtClean="0"/>
              <a:t>Spark Data Transform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265" y="904034"/>
            <a:ext cx="1645754" cy="427055"/>
          </a:xfrm>
        </p:spPr>
        <p:txBody>
          <a:bodyPr>
            <a:noAutofit/>
          </a:bodyPr>
          <a:lstStyle/>
          <a:p>
            <a:r>
              <a:rPr lang="en-US" sz="2000" dirty="0" smtClean="0"/>
              <a:t>Logic View</a:t>
            </a:r>
            <a:endParaRPr lang="en-US" sz="2000" i="1" dirty="0" smtClean="0"/>
          </a:p>
          <a:p>
            <a:endParaRPr lang="en-US" sz="2000" i="1" dirty="0" smtClean="0"/>
          </a:p>
          <a:p>
            <a:endParaRPr lang="en-US" sz="2000" b="1" i="1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park</a:t>
            </a: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6467" y="904034"/>
            <a:ext cx="5224901" cy="37146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ounded Rectangular Callout 6"/>
          <p:cNvSpPr/>
          <p:nvPr/>
        </p:nvSpPr>
        <p:spPr>
          <a:xfrm>
            <a:off x="6875361" y="3356658"/>
            <a:ext cx="2025569" cy="682907"/>
          </a:xfrm>
          <a:prstGeom prst="wedgeRoundRectCallout">
            <a:avLst>
              <a:gd name="adj1" fmla="val -80876"/>
              <a:gd name="adj2" fmla="val -52767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Wide Transformations</a:t>
            </a:r>
          </a:p>
        </p:txBody>
      </p:sp>
      <p:sp>
        <p:nvSpPr>
          <p:cNvPr id="8" name="Rounded Rectangular Callout 7"/>
          <p:cNvSpPr/>
          <p:nvPr/>
        </p:nvSpPr>
        <p:spPr>
          <a:xfrm>
            <a:off x="6998821" y="982883"/>
            <a:ext cx="2025569" cy="696411"/>
          </a:xfrm>
          <a:prstGeom prst="wedgeRoundRectCallout">
            <a:avLst>
              <a:gd name="adj1" fmla="val -124876"/>
              <a:gd name="adj2" fmla="val -7072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Wide Transformations</a:t>
            </a:r>
          </a:p>
        </p:txBody>
      </p:sp>
      <p:sp>
        <p:nvSpPr>
          <p:cNvPr id="9" name="Rounded Rectangular Callout 8"/>
          <p:cNvSpPr/>
          <p:nvPr/>
        </p:nvSpPr>
        <p:spPr>
          <a:xfrm>
            <a:off x="163973" y="3356657"/>
            <a:ext cx="2025569" cy="682907"/>
          </a:xfrm>
          <a:prstGeom prst="wedgeRoundRectCallout">
            <a:avLst>
              <a:gd name="adj1" fmla="val 56838"/>
              <a:gd name="adj2" fmla="val -84970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Narrow</a:t>
            </a: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Transformations</a:t>
            </a:r>
          </a:p>
        </p:txBody>
      </p:sp>
    </p:spTree>
    <p:extLst>
      <p:ext uri="{BB962C8B-B14F-4D97-AF65-F5344CB8AC3E}">
        <p14:creationId xmlns:p14="http://schemas.microsoft.com/office/powerpoint/2010/main" val="320570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dirty="0" smtClean="0"/>
              <a:t>Spark Workflow – Partitions (1/2)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park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 bwMode="auto">
          <a:xfrm>
            <a:off x="224518" y="951806"/>
            <a:ext cx="6211006" cy="1073763"/>
          </a:xfrm>
          <a:prstGeom prst="rect">
            <a:avLst/>
          </a:prstGeom>
          <a:noFill/>
          <a:ln w="9525" cap="flat" cmpd="sng" algn="ctr">
            <a:solidFill>
              <a:srgbClr val="043B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es-ES" sz="1400" dirty="0">
                <a:latin typeface="Consolas" panose="020B0609020204030204" pitchFamily="49" charset="0"/>
                <a:cs typeface="Consolas" panose="020B0609020204030204" pitchFamily="49" charset="0"/>
              </a:rPr>
              <a:t>val </a:t>
            </a:r>
            <a:r>
              <a:rPr lang="es-ES" sz="1400" dirty="0" err="1">
                <a:latin typeface="Consolas" panose="020B0609020204030204" pitchFamily="49" charset="0"/>
                <a:cs typeface="Consolas" panose="020B0609020204030204" pitchFamily="49" charset="0"/>
              </a:rPr>
              <a:t>sc</a:t>
            </a:r>
            <a:r>
              <a:rPr lang="es-ES" sz="1400" dirty="0">
                <a:latin typeface="Consolas" panose="020B0609020204030204" pitchFamily="49" charset="0"/>
                <a:cs typeface="Consolas" panose="020B0609020204030204" pitchFamily="49" charset="0"/>
              </a:rPr>
              <a:t> = new </a:t>
            </a:r>
            <a:r>
              <a:rPr lang="es-ES" sz="1400" dirty="0" err="1">
                <a:latin typeface="Consolas" panose="020B0609020204030204" pitchFamily="49" charset="0"/>
                <a:cs typeface="Consolas" panose="020B0609020204030204" pitchFamily="49" charset="0"/>
              </a:rPr>
              <a:t>SparkContext</a:t>
            </a:r>
            <a:r>
              <a:rPr lang="es-ES" sz="1400" dirty="0">
                <a:latin typeface="Consolas" panose="020B0609020204030204" pitchFamily="49" charset="0"/>
                <a:cs typeface="Consolas" panose="020B0609020204030204" pitchFamily="49" charset="0"/>
              </a:rPr>
              <a:t>(“</a:t>
            </a:r>
            <a:r>
              <a:rPr lang="es-ES" sz="1400" dirty="0" err="1">
                <a:latin typeface="Consolas" panose="020B0609020204030204" pitchFamily="49" charset="0"/>
                <a:cs typeface="Consolas" panose="020B0609020204030204" pitchFamily="49" charset="0"/>
              </a:rPr>
              <a:t>spark</a:t>
            </a:r>
            <a:r>
              <a:rPr lang="es-ES" sz="1400" dirty="0">
                <a:latin typeface="Consolas" panose="020B0609020204030204" pitchFamily="49" charset="0"/>
                <a:cs typeface="Consolas" panose="020B0609020204030204" pitchFamily="49" charset="0"/>
              </a:rPr>
              <a:t>://...”, “</a:t>
            </a:r>
            <a:r>
              <a:rPr lang="es-ES" sz="1400" dirty="0" err="1">
                <a:latin typeface="Consolas" panose="020B0609020204030204" pitchFamily="49" charset="0"/>
                <a:cs typeface="Consolas" panose="020B0609020204030204" pitchFamily="49" charset="0"/>
              </a:rPr>
              <a:t>MyJob</a:t>
            </a:r>
            <a:r>
              <a:rPr lang="es-ES" sz="1400" dirty="0">
                <a:latin typeface="Consolas" panose="020B0609020204030204" pitchFamily="49" charset="0"/>
                <a:cs typeface="Consolas" panose="020B0609020204030204" pitchFamily="49" charset="0"/>
              </a:rPr>
              <a:t>”, home, </a:t>
            </a:r>
            <a:r>
              <a:rPr lang="es-ES" sz="1400" dirty="0" err="1">
                <a:latin typeface="Consolas" panose="020B0609020204030204" pitchFamily="49" charset="0"/>
                <a:cs typeface="Consolas" panose="020B0609020204030204" pitchFamily="49" charset="0"/>
              </a:rPr>
              <a:t>jars</a:t>
            </a:r>
            <a:r>
              <a:rPr lang="es-ES" sz="1400" dirty="0">
                <a:latin typeface="Consolas" panose="020B0609020204030204" pitchFamily="49" charset="0"/>
                <a:cs typeface="Consolas" panose="020B0609020204030204" pitchFamily="49" charset="0"/>
              </a:rPr>
              <a:t>)</a:t>
            </a:r>
            <a:br>
              <a:rPr lang="es-ES" sz="1400" dirty="0"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s-ES" sz="1400" dirty="0">
                <a:latin typeface="Consolas" panose="020B0609020204030204" pitchFamily="49" charset="0"/>
                <a:cs typeface="Consolas" panose="020B0609020204030204" pitchFamily="49" charset="0"/>
              </a:rPr>
              <a:t>val file = </a:t>
            </a:r>
            <a:r>
              <a:rPr lang="es-ES" sz="1400" dirty="0" err="1">
                <a:latin typeface="Consolas" panose="020B0609020204030204" pitchFamily="49" charset="0"/>
                <a:cs typeface="Consolas" panose="020B0609020204030204" pitchFamily="49" charset="0"/>
              </a:rPr>
              <a:t>sc.textFile</a:t>
            </a:r>
            <a:r>
              <a:rPr lang="es-ES" sz="1400" dirty="0">
                <a:latin typeface="Consolas" panose="020B0609020204030204" pitchFamily="49" charset="0"/>
                <a:cs typeface="Consolas" panose="020B0609020204030204" pitchFamily="49" charset="0"/>
              </a:rPr>
              <a:t>(“</a:t>
            </a:r>
            <a:r>
              <a:rPr lang="es-ES" sz="1400" dirty="0" err="1">
                <a:latin typeface="Consolas" panose="020B0609020204030204" pitchFamily="49" charset="0"/>
                <a:cs typeface="Consolas" panose="020B0609020204030204" pitchFamily="49" charset="0"/>
              </a:rPr>
              <a:t>hdfs</a:t>
            </a:r>
            <a:r>
              <a:rPr lang="es-ES" sz="1400" dirty="0">
                <a:latin typeface="Consolas" panose="020B0609020204030204" pitchFamily="49" charset="0"/>
                <a:cs typeface="Consolas" panose="020B0609020204030204" pitchFamily="49" charset="0"/>
              </a:rPr>
              <a:t>://...”)</a:t>
            </a:r>
            <a:br>
              <a:rPr lang="es-ES" sz="1400" dirty="0"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s-ES" sz="1400" dirty="0">
                <a:latin typeface="Consolas" panose="020B0609020204030204" pitchFamily="49" charset="0"/>
                <a:cs typeface="Consolas" panose="020B0609020204030204" pitchFamily="49" charset="0"/>
              </a:rPr>
              <a:t>val </a:t>
            </a:r>
            <a:r>
              <a:rPr lang="es-ES" sz="1400" dirty="0" err="1">
                <a:latin typeface="Consolas" panose="020B0609020204030204" pitchFamily="49" charset="0"/>
                <a:cs typeface="Consolas" panose="020B0609020204030204" pitchFamily="49" charset="0"/>
              </a:rPr>
              <a:t>errors</a:t>
            </a:r>
            <a:r>
              <a:rPr lang="es-ES" sz="1400" dirty="0"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es-ES" sz="1400" dirty="0" err="1">
                <a:latin typeface="Consolas" panose="020B0609020204030204" pitchFamily="49" charset="0"/>
                <a:cs typeface="Consolas" panose="020B0609020204030204" pitchFamily="49" charset="0"/>
              </a:rPr>
              <a:t>file.filter</a:t>
            </a:r>
            <a:r>
              <a:rPr lang="es-ES" sz="1400" dirty="0">
                <a:latin typeface="Consolas" panose="020B0609020204030204" pitchFamily="49" charset="0"/>
                <a:cs typeface="Consolas" panose="020B0609020204030204" pitchFamily="49" charset="0"/>
              </a:rPr>
              <a:t>(_.</a:t>
            </a:r>
            <a:r>
              <a:rPr lang="es-ES" sz="1400" dirty="0" err="1">
                <a:latin typeface="Consolas" panose="020B0609020204030204" pitchFamily="49" charset="0"/>
                <a:cs typeface="Consolas" panose="020B0609020204030204" pitchFamily="49" charset="0"/>
              </a:rPr>
              <a:t>contains</a:t>
            </a:r>
            <a:r>
              <a:rPr lang="es-ES" sz="1400" dirty="0">
                <a:latin typeface="Consolas" panose="020B0609020204030204" pitchFamily="49" charset="0"/>
                <a:cs typeface="Consolas" panose="020B0609020204030204" pitchFamily="49" charset="0"/>
              </a:rPr>
              <a:t>(“ERROR”))</a:t>
            </a:r>
            <a:br>
              <a:rPr lang="es-ES" sz="1400" dirty="0"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s-ES" sz="1400" dirty="0" err="1">
                <a:latin typeface="Consolas" panose="020B0609020204030204" pitchFamily="49" charset="0"/>
                <a:cs typeface="Consolas" panose="020B0609020204030204" pitchFamily="49" charset="0"/>
              </a:rPr>
              <a:t>errors.count</a:t>
            </a:r>
            <a:r>
              <a:rPr lang="es-ES" sz="1400" dirty="0">
                <a:latin typeface="Consolas" panose="020B0609020204030204" pitchFamily="49" charset="0"/>
                <a:cs typeface="Consolas" panose="020B0609020204030204" pitchFamily="49" charset="0"/>
              </a:rPr>
              <a:t>()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1414097" y="2874130"/>
            <a:ext cx="2012395" cy="1373255"/>
            <a:chOff x="1902326" y="2985949"/>
            <a:chExt cx="2012395" cy="1373255"/>
          </a:xfrm>
        </p:grpSpPr>
        <p:sp>
          <p:nvSpPr>
            <p:cNvPr id="11" name="Rounded Rectangle 10"/>
            <p:cNvSpPr/>
            <p:nvPr/>
          </p:nvSpPr>
          <p:spPr>
            <a:xfrm>
              <a:off x="1949569" y="2985949"/>
              <a:ext cx="1917911" cy="589335"/>
            </a:xfrm>
            <a:prstGeom prst="roundRect">
              <a:avLst/>
            </a:prstGeom>
            <a:ln>
              <a:headEnd type="none" w="med" len="med"/>
              <a:tailEnd type="none"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b"/>
            <a:lstStyle>
              <a:defPPr>
                <a:defRPr lang="en-US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b="1" dirty="0" err="1" smtClean="0"/>
                <a:t>HadoopRDD</a:t>
              </a:r>
              <a:r>
                <a:rPr lang="en-US" sz="1400" b="1" dirty="0" smtClean="0"/>
                <a:t/>
              </a:r>
              <a:br>
                <a:rPr lang="en-US" sz="1400" b="1" dirty="0" smtClean="0"/>
              </a:br>
              <a:r>
                <a:rPr lang="en-US" sz="1400" dirty="0" smtClean="0"/>
                <a:t>path = </a:t>
              </a:r>
              <a:r>
                <a:rPr lang="en-US" sz="1400" dirty="0" err="1" smtClean="0"/>
                <a:t>hdfs</a:t>
              </a:r>
              <a:r>
                <a:rPr lang="en-US" sz="1400" dirty="0" smtClean="0"/>
                <a:t>://...</a:t>
              </a:r>
              <a:endParaRPr lang="en-US" sz="1400" dirty="0"/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1902326" y="3856299"/>
              <a:ext cx="2012395" cy="502905"/>
            </a:xfrm>
            <a:prstGeom prst="roundRect">
              <a:avLst/>
            </a:prstGeom>
            <a:ln>
              <a:headEnd type="none" w="med" len="med"/>
              <a:tailEnd type="none"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b"/>
            <a:lstStyle>
              <a:defPPr>
                <a:defRPr lang="en-US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b="1" dirty="0" err="1" smtClean="0"/>
                <a:t>FilteredRDD</a:t>
              </a:r>
              <a:r>
                <a:rPr lang="en-US" sz="1400" b="1" dirty="0" smtClean="0"/>
                <a:t/>
              </a:r>
              <a:br>
                <a:rPr lang="en-US" sz="1400" b="1" dirty="0" smtClean="0"/>
              </a:br>
              <a:r>
                <a:rPr lang="en-US" sz="1400" dirty="0" err="1" smtClean="0"/>
                <a:t>func</a:t>
              </a:r>
              <a:r>
                <a:rPr lang="en-US" sz="1400" dirty="0" smtClean="0"/>
                <a:t> = _.contains(…)</a:t>
              </a:r>
              <a:endParaRPr lang="en-US" sz="1400" dirty="0"/>
            </a:p>
          </p:txBody>
        </p:sp>
        <p:cxnSp>
          <p:nvCxnSpPr>
            <p:cNvPr id="13" name="Straight Arrow Connector 12"/>
            <p:cNvCxnSpPr>
              <a:stCxn id="11" idx="2"/>
              <a:endCxn id="12" idx="0"/>
            </p:cNvCxnSpPr>
            <p:nvPr/>
          </p:nvCxnSpPr>
          <p:spPr>
            <a:xfrm flipH="1">
              <a:off x="2908524" y="3575284"/>
              <a:ext cx="1" cy="281015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Box 7"/>
          <p:cNvSpPr txBox="1"/>
          <p:nvPr/>
        </p:nvSpPr>
        <p:spPr>
          <a:xfrm>
            <a:off x="422410" y="3014908"/>
            <a:ext cx="6815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file:</a:t>
            </a:r>
          </a:p>
        </p:txBody>
      </p:sp>
      <p:sp>
        <p:nvSpPr>
          <p:cNvPr id="15" name="TextBox 8"/>
          <p:cNvSpPr txBox="1"/>
          <p:nvPr/>
        </p:nvSpPr>
        <p:spPr>
          <a:xfrm>
            <a:off x="323025" y="3824592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errors: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3957004" y="2310944"/>
            <a:ext cx="2082575" cy="2104106"/>
            <a:chOff x="5383743" y="2244644"/>
            <a:chExt cx="2961971" cy="2992594"/>
          </a:xfrm>
        </p:grpSpPr>
        <p:sp>
          <p:nvSpPr>
            <p:cNvPr id="17" name="Rounded Rectangle 16"/>
            <p:cNvSpPr/>
            <p:nvPr/>
          </p:nvSpPr>
          <p:spPr>
            <a:xfrm>
              <a:off x="5384661" y="3133132"/>
              <a:ext cx="2953825" cy="620021"/>
            </a:xfrm>
            <a:prstGeom prst="roundRect">
              <a:avLst/>
            </a:prstGeom>
            <a:solidFill>
              <a:sysClr val="window" lastClr="FFFFFF"/>
            </a:solidFill>
            <a:ln w="22225" cap="flat" cmpd="sng" algn="ctr">
              <a:solidFill>
                <a:srgbClr val="4F81BD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5pPr>
              <a:lvl6pPr marL="22860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6pPr>
              <a:lvl7pPr marL="27432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7pPr>
              <a:lvl8pPr marL="32004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8pPr>
              <a:lvl9pPr marL="36576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n-ea"/>
                <a:cs typeface="Corbel"/>
              </a:endParaRP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5579434" y="3244547"/>
              <a:ext cx="485730" cy="412636"/>
            </a:xfrm>
            <a:prstGeom prst="roundRect">
              <a:avLst/>
            </a:prstGeom>
            <a:gradFill rotWithShape="1">
              <a:gsLst>
                <a:gs pos="0">
                  <a:srgbClr val="4F81BD">
                    <a:tint val="100000"/>
                    <a:shade val="100000"/>
                    <a:satMod val="130000"/>
                  </a:srgbClr>
                </a:gs>
                <a:gs pos="100000">
                  <a:srgbClr val="4F81BD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5pPr>
              <a:lvl6pPr marL="22860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6pPr>
              <a:lvl7pPr marL="27432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7pPr>
              <a:lvl8pPr marL="32004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8pPr>
              <a:lvl9pPr marL="36576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orbel"/>
                <a:ea typeface="+mn-ea"/>
                <a:cs typeface="Corbel"/>
              </a:endParaRPr>
            </a:p>
          </p:txBody>
        </p:sp>
        <p:sp>
          <p:nvSpPr>
            <p:cNvPr id="19" name="Rounded Rectangle 18"/>
            <p:cNvSpPr/>
            <p:nvPr/>
          </p:nvSpPr>
          <p:spPr>
            <a:xfrm>
              <a:off x="6275109" y="3244547"/>
              <a:ext cx="485730" cy="412636"/>
            </a:xfrm>
            <a:prstGeom prst="roundRect">
              <a:avLst/>
            </a:prstGeom>
            <a:gradFill rotWithShape="1">
              <a:gsLst>
                <a:gs pos="0">
                  <a:srgbClr val="4F81BD">
                    <a:tint val="100000"/>
                    <a:shade val="100000"/>
                    <a:satMod val="130000"/>
                  </a:srgbClr>
                </a:gs>
                <a:gs pos="100000">
                  <a:srgbClr val="4F81BD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5pPr>
              <a:lvl6pPr marL="22860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6pPr>
              <a:lvl7pPr marL="27432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7pPr>
              <a:lvl8pPr marL="32004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8pPr>
              <a:lvl9pPr marL="36576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orbel"/>
                <a:ea typeface="+mn-ea"/>
                <a:cs typeface="Corbel"/>
              </a:endParaRPr>
            </a:p>
          </p:txBody>
        </p:sp>
        <p:sp>
          <p:nvSpPr>
            <p:cNvPr id="20" name="Rounded Rectangle 19"/>
            <p:cNvSpPr/>
            <p:nvPr/>
          </p:nvSpPr>
          <p:spPr>
            <a:xfrm>
              <a:off x="6970784" y="3244547"/>
              <a:ext cx="485730" cy="412636"/>
            </a:xfrm>
            <a:prstGeom prst="roundRect">
              <a:avLst/>
            </a:prstGeom>
            <a:gradFill rotWithShape="1">
              <a:gsLst>
                <a:gs pos="0">
                  <a:srgbClr val="4F81BD">
                    <a:tint val="100000"/>
                    <a:shade val="100000"/>
                    <a:satMod val="130000"/>
                  </a:srgbClr>
                </a:gs>
                <a:gs pos="100000">
                  <a:srgbClr val="4F81BD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5pPr>
              <a:lvl6pPr marL="22860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6pPr>
              <a:lvl7pPr marL="27432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7pPr>
              <a:lvl8pPr marL="32004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8pPr>
              <a:lvl9pPr marL="36576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orbel"/>
                <a:ea typeface="+mn-ea"/>
                <a:cs typeface="Corbel"/>
              </a:endParaRPr>
            </a:p>
          </p:txBody>
        </p:sp>
        <p:sp>
          <p:nvSpPr>
            <p:cNvPr id="21" name="Rounded Rectangle 20"/>
            <p:cNvSpPr/>
            <p:nvPr/>
          </p:nvSpPr>
          <p:spPr>
            <a:xfrm>
              <a:off x="7666460" y="3244547"/>
              <a:ext cx="485730" cy="412636"/>
            </a:xfrm>
            <a:prstGeom prst="roundRect">
              <a:avLst/>
            </a:prstGeom>
            <a:gradFill rotWithShape="1">
              <a:gsLst>
                <a:gs pos="0">
                  <a:srgbClr val="4F81BD">
                    <a:tint val="100000"/>
                    <a:shade val="100000"/>
                    <a:satMod val="130000"/>
                  </a:srgbClr>
                </a:gs>
                <a:gs pos="100000">
                  <a:srgbClr val="4F81BD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5pPr>
              <a:lvl6pPr marL="22860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6pPr>
              <a:lvl7pPr marL="27432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7pPr>
              <a:lvl8pPr marL="32004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8pPr>
              <a:lvl9pPr marL="36576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orbel"/>
                <a:ea typeface="+mn-ea"/>
                <a:cs typeface="Corbel"/>
              </a:endParaRPr>
            </a:p>
          </p:txBody>
        </p:sp>
        <p:sp>
          <p:nvSpPr>
            <p:cNvPr id="22" name="Rounded Rectangle 21"/>
            <p:cNvSpPr/>
            <p:nvPr/>
          </p:nvSpPr>
          <p:spPr>
            <a:xfrm>
              <a:off x="5391889" y="4617217"/>
              <a:ext cx="2953825" cy="620021"/>
            </a:xfrm>
            <a:prstGeom prst="roundRect">
              <a:avLst/>
            </a:prstGeom>
            <a:solidFill>
              <a:sysClr val="window" lastClr="FFFFFF"/>
            </a:solidFill>
            <a:ln w="22225" cap="flat" cmpd="sng" algn="ctr">
              <a:solidFill>
                <a:srgbClr val="4F81BD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5pPr>
              <a:lvl6pPr marL="22860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6pPr>
              <a:lvl7pPr marL="27432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7pPr>
              <a:lvl8pPr marL="32004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8pPr>
              <a:lvl9pPr marL="36576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n-ea"/>
                <a:cs typeface="Corbel"/>
              </a:endParaRPr>
            </a:p>
          </p:txBody>
        </p:sp>
        <p:sp>
          <p:nvSpPr>
            <p:cNvPr id="23" name="Rounded Rectangle 22"/>
            <p:cNvSpPr/>
            <p:nvPr/>
          </p:nvSpPr>
          <p:spPr>
            <a:xfrm>
              <a:off x="5586661" y="4728632"/>
              <a:ext cx="485730" cy="412636"/>
            </a:xfrm>
            <a:prstGeom prst="roundRect">
              <a:avLst/>
            </a:prstGeom>
            <a:gradFill rotWithShape="1">
              <a:gsLst>
                <a:gs pos="0">
                  <a:srgbClr val="4F81BD">
                    <a:tint val="100000"/>
                    <a:shade val="100000"/>
                    <a:satMod val="130000"/>
                  </a:srgbClr>
                </a:gs>
                <a:gs pos="100000">
                  <a:srgbClr val="4F81BD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5pPr>
              <a:lvl6pPr marL="22860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6pPr>
              <a:lvl7pPr marL="27432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7pPr>
              <a:lvl8pPr marL="32004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8pPr>
              <a:lvl9pPr marL="36576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orbel"/>
                <a:ea typeface="+mn-ea"/>
                <a:cs typeface="Corbel"/>
              </a:endParaRPr>
            </a:p>
          </p:txBody>
        </p:sp>
        <p:sp>
          <p:nvSpPr>
            <p:cNvPr id="24" name="Rounded Rectangle 23"/>
            <p:cNvSpPr/>
            <p:nvPr/>
          </p:nvSpPr>
          <p:spPr>
            <a:xfrm>
              <a:off x="6282337" y="4728632"/>
              <a:ext cx="485730" cy="412636"/>
            </a:xfrm>
            <a:prstGeom prst="roundRect">
              <a:avLst/>
            </a:prstGeom>
            <a:gradFill rotWithShape="1">
              <a:gsLst>
                <a:gs pos="0">
                  <a:srgbClr val="4F81BD">
                    <a:tint val="100000"/>
                    <a:shade val="100000"/>
                    <a:satMod val="130000"/>
                  </a:srgbClr>
                </a:gs>
                <a:gs pos="100000">
                  <a:srgbClr val="4F81BD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5pPr>
              <a:lvl6pPr marL="22860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6pPr>
              <a:lvl7pPr marL="27432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7pPr>
              <a:lvl8pPr marL="32004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8pPr>
              <a:lvl9pPr marL="36576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orbel"/>
                <a:ea typeface="+mn-ea"/>
                <a:cs typeface="Corbel"/>
              </a:endParaRPr>
            </a:p>
          </p:txBody>
        </p:sp>
        <p:sp>
          <p:nvSpPr>
            <p:cNvPr id="25" name="Rounded Rectangle 24"/>
            <p:cNvSpPr/>
            <p:nvPr/>
          </p:nvSpPr>
          <p:spPr>
            <a:xfrm>
              <a:off x="6978012" y="4728632"/>
              <a:ext cx="485730" cy="412636"/>
            </a:xfrm>
            <a:prstGeom prst="roundRect">
              <a:avLst/>
            </a:prstGeom>
            <a:gradFill rotWithShape="1">
              <a:gsLst>
                <a:gs pos="0">
                  <a:srgbClr val="4F81BD">
                    <a:tint val="100000"/>
                    <a:shade val="100000"/>
                    <a:satMod val="130000"/>
                  </a:srgbClr>
                </a:gs>
                <a:gs pos="100000">
                  <a:srgbClr val="4F81BD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5pPr>
              <a:lvl6pPr marL="22860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6pPr>
              <a:lvl7pPr marL="27432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7pPr>
              <a:lvl8pPr marL="32004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8pPr>
              <a:lvl9pPr marL="36576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orbel"/>
                <a:ea typeface="+mn-ea"/>
                <a:cs typeface="Corbel"/>
              </a:endParaRPr>
            </a:p>
          </p:txBody>
        </p:sp>
        <p:sp>
          <p:nvSpPr>
            <p:cNvPr id="26" name="Rounded Rectangle 25"/>
            <p:cNvSpPr/>
            <p:nvPr/>
          </p:nvSpPr>
          <p:spPr>
            <a:xfrm>
              <a:off x="7673687" y="4728632"/>
              <a:ext cx="485730" cy="412636"/>
            </a:xfrm>
            <a:prstGeom prst="roundRect">
              <a:avLst/>
            </a:prstGeom>
            <a:gradFill rotWithShape="1">
              <a:gsLst>
                <a:gs pos="0">
                  <a:srgbClr val="4F81BD">
                    <a:tint val="100000"/>
                    <a:shade val="100000"/>
                    <a:satMod val="130000"/>
                  </a:srgbClr>
                </a:gs>
                <a:gs pos="100000">
                  <a:srgbClr val="4F81BD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5pPr>
              <a:lvl6pPr marL="22860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6pPr>
              <a:lvl7pPr marL="27432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7pPr>
              <a:lvl8pPr marL="32004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8pPr>
              <a:lvl9pPr marL="36576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orbel"/>
                <a:ea typeface="+mn-ea"/>
                <a:cs typeface="Corbel"/>
              </a:endParaRPr>
            </a:p>
          </p:txBody>
        </p:sp>
        <p:cxnSp>
          <p:nvCxnSpPr>
            <p:cNvPr id="27" name="Straight Arrow Connector 26"/>
            <p:cNvCxnSpPr>
              <a:stCxn id="18" idx="2"/>
              <a:endCxn id="23" idx="0"/>
            </p:cNvCxnSpPr>
            <p:nvPr/>
          </p:nvCxnSpPr>
          <p:spPr>
            <a:xfrm>
              <a:off x="5822299" y="3657183"/>
              <a:ext cx="7227" cy="1071449"/>
            </a:xfrm>
            <a:prstGeom prst="straightConnector1">
              <a:avLst/>
            </a:prstGeom>
            <a:noFill/>
            <a:ln w="19050" cap="flat" cmpd="sng" algn="ctr">
              <a:solidFill>
                <a:srgbClr val="000000"/>
              </a:solidFill>
              <a:prstDash val="solid"/>
              <a:round/>
              <a:headEnd type="none"/>
              <a:tailEnd type="triangle" w="med" len="lg"/>
            </a:ln>
            <a:effectLst/>
          </p:spPr>
        </p:cxnSp>
        <p:cxnSp>
          <p:nvCxnSpPr>
            <p:cNvPr id="28" name="Straight Arrow Connector 27"/>
            <p:cNvCxnSpPr>
              <a:stCxn id="19" idx="2"/>
              <a:endCxn id="24" idx="0"/>
            </p:cNvCxnSpPr>
            <p:nvPr/>
          </p:nvCxnSpPr>
          <p:spPr>
            <a:xfrm>
              <a:off x="6517974" y="3657183"/>
              <a:ext cx="7228" cy="1071449"/>
            </a:xfrm>
            <a:prstGeom prst="straightConnector1">
              <a:avLst/>
            </a:prstGeom>
            <a:noFill/>
            <a:ln w="19050" cap="flat" cmpd="sng" algn="ctr">
              <a:solidFill>
                <a:srgbClr val="000000"/>
              </a:solidFill>
              <a:prstDash val="solid"/>
              <a:round/>
              <a:headEnd type="none"/>
              <a:tailEnd type="triangle" w="med" len="lg"/>
            </a:ln>
            <a:effectLst/>
          </p:spPr>
        </p:cxnSp>
        <p:cxnSp>
          <p:nvCxnSpPr>
            <p:cNvPr id="29" name="Straight Arrow Connector 28"/>
            <p:cNvCxnSpPr>
              <a:stCxn id="20" idx="2"/>
              <a:endCxn id="25" idx="0"/>
            </p:cNvCxnSpPr>
            <p:nvPr/>
          </p:nvCxnSpPr>
          <p:spPr>
            <a:xfrm>
              <a:off x="7213649" y="3657183"/>
              <a:ext cx="7228" cy="1071449"/>
            </a:xfrm>
            <a:prstGeom prst="straightConnector1">
              <a:avLst/>
            </a:prstGeom>
            <a:noFill/>
            <a:ln w="19050" cap="flat" cmpd="sng" algn="ctr">
              <a:solidFill>
                <a:srgbClr val="000000"/>
              </a:solidFill>
              <a:prstDash val="solid"/>
              <a:round/>
              <a:headEnd type="none"/>
              <a:tailEnd type="triangle" w="med" len="lg"/>
            </a:ln>
            <a:effectLst/>
          </p:spPr>
        </p:cxnSp>
        <p:cxnSp>
          <p:nvCxnSpPr>
            <p:cNvPr id="30" name="Straight Arrow Connector 29"/>
            <p:cNvCxnSpPr>
              <a:stCxn id="21" idx="2"/>
              <a:endCxn id="26" idx="0"/>
            </p:cNvCxnSpPr>
            <p:nvPr/>
          </p:nvCxnSpPr>
          <p:spPr>
            <a:xfrm>
              <a:off x="7909325" y="3657183"/>
              <a:ext cx="7227" cy="1071449"/>
            </a:xfrm>
            <a:prstGeom prst="straightConnector1">
              <a:avLst/>
            </a:prstGeom>
            <a:noFill/>
            <a:ln w="19050" cap="flat" cmpd="sng" algn="ctr">
              <a:solidFill>
                <a:srgbClr val="000000"/>
              </a:solidFill>
              <a:prstDash val="solid"/>
              <a:round/>
              <a:headEnd type="none"/>
              <a:tailEnd type="triangle" w="med" len="lg"/>
            </a:ln>
            <a:effectLst/>
          </p:spPr>
        </p:cxnSp>
        <p:sp>
          <p:nvSpPr>
            <p:cNvPr id="31" name="TextBox 36"/>
            <p:cNvSpPr txBox="1"/>
            <p:nvPr/>
          </p:nvSpPr>
          <p:spPr>
            <a:xfrm>
              <a:off x="5383743" y="2244644"/>
              <a:ext cx="227498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5pPr>
              <a:lvl6pPr marL="22860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6pPr>
              <a:lvl7pPr marL="27432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7pPr>
              <a:lvl8pPr marL="32004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8pPr>
              <a:lvl9pPr marL="36576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ＭＳ Ｐゴシック" charset="-128"/>
                </a:defRPr>
              </a:lvl9pPr>
            </a:lstStyle>
            <a:p>
              <a:r>
                <a:rPr lang="en-US" sz="1800" b="1" dirty="0" smtClean="0">
                  <a:latin typeface="+mn-lt"/>
                  <a:cs typeface="Corbel"/>
                </a:rPr>
                <a:t>Partition-level view</a:t>
              </a:r>
            </a:p>
          </p:txBody>
        </p:sp>
      </p:grpSp>
      <p:sp>
        <p:nvSpPr>
          <p:cNvPr id="32" name="TextBox 38"/>
          <p:cNvSpPr txBox="1"/>
          <p:nvPr/>
        </p:nvSpPr>
        <p:spPr>
          <a:xfrm>
            <a:off x="1334099" y="2302358"/>
            <a:ext cx="21723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1800" b="1" dirty="0" smtClean="0">
                <a:latin typeface="+mn-lt"/>
                <a:cs typeface="Corbel"/>
              </a:rPr>
              <a:t>Dataset-level view</a:t>
            </a:r>
          </a:p>
        </p:txBody>
      </p:sp>
      <p:grpSp>
        <p:nvGrpSpPr>
          <p:cNvPr id="33" name="Group 32"/>
          <p:cNvGrpSpPr/>
          <p:nvPr/>
        </p:nvGrpSpPr>
        <p:grpSpPr>
          <a:xfrm>
            <a:off x="7135811" y="1042058"/>
            <a:ext cx="1441304" cy="1366870"/>
            <a:chOff x="2784930" y="2345019"/>
            <a:chExt cx="1312636" cy="1724328"/>
          </a:xfrm>
        </p:grpSpPr>
        <p:pic>
          <p:nvPicPr>
            <p:cNvPr id="34" name="Picture 33" descr="to_ddr333memory_350.gif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84930" y="2790207"/>
              <a:ext cx="1295624" cy="1279140"/>
            </a:xfrm>
            <a:prstGeom prst="rect">
              <a:avLst/>
            </a:prstGeom>
          </p:spPr>
        </p:pic>
        <p:pic>
          <p:nvPicPr>
            <p:cNvPr id="35" name="Picture 34" descr="to_ddr333memory_350.gif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93436" y="2554275"/>
              <a:ext cx="1295624" cy="1279140"/>
            </a:xfrm>
            <a:prstGeom prst="rect">
              <a:avLst/>
            </a:prstGeom>
          </p:spPr>
        </p:pic>
        <p:pic>
          <p:nvPicPr>
            <p:cNvPr id="36" name="Picture 35" descr="to_ddr333memory_350.gif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01942" y="2345019"/>
              <a:ext cx="1295624" cy="12791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62239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dirty="0" smtClean="0"/>
              <a:t>Spark Workflow – the rest (2/2)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park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181" y="920863"/>
            <a:ext cx="6933691" cy="377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71002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dirty="0" smtClean="0"/>
              <a:t>Data Partitioning -- defaul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14401"/>
            <a:ext cx="6183124" cy="3708970"/>
          </a:xfrm>
        </p:spPr>
        <p:txBody>
          <a:bodyPr>
            <a:normAutofit/>
          </a:bodyPr>
          <a:lstStyle/>
          <a:p>
            <a:r>
              <a:rPr lang="en-US" sz="2400" dirty="0"/>
              <a:t>P</a:t>
            </a:r>
            <a:r>
              <a:rPr lang="en-US" sz="2400" dirty="0" smtClean="0"/>
              <a:t>artitioning defines the degree of parallelism by “partitioning” the data between workers. Then in each worker the data will be processed in parallel</a:t>
            </a:r>
          </a:p>
          <a:p>
            <a:r>
              <a:rPr lang="en-US" sz="2400" dirty="0" smtClean="0"/>
              <a:t>By default is done automatically by </a:t>
            </a:r>
            <a:r>
              <a:rPr lang="en-US" sz="2400" b="1" dirty="0" smtClean="0"/>
              <a:t>Spark</a:t>
            </a:r>
          </a:p>
          <a:p>
            <a:pPr lvl="1"/>
            <a:r>
              <a:rPr lang="en-US" sz="2000" dirty="0" err="1" smtClean="0"/>
              <a:t>spark.default.parallelism</a:t>
            </a:r>
            <a:r>
              <a:rPr lang="en-US" sz="2000" dirty="0" smtClean="0"/>
              <a:t> </a:t>
            </a:r>
          </a:p>
          <a:p>
            <a:pPr lvl="1"/>
            <a:r>
              <a:rPr lang="en-US" sz="2000" dirty="0" smtClean="0"/>
              <a:t>In </a:t>
            </a:r>
            <a:r>
              <a:rPr lang="en-US" sz="2000" b="1" dirty="0" smtClean="0"/>
              <a:t>local mode </a:t>
            </a:r>
            <a:r>
              <a:rPr lang="en-US" sz="2000" dirty="0" smtClean="0"/>
              <a:t>the default is #cores</a:t>
            </a:r>
          </a:p>
          <a:p>
            <a:pPr lvl="1"/>
            <a:r>
              <a:rPr lang="en-US" sz="2000" dirty="0" smtClean="0"/>
              <a:t>In </a:t>
            </a:r>
            <a:r>
              <a:rPr lang="en-US" sz="2000" b="1" dirty="0" smtClean="0"/>
              <a:t>cluster mode </a:t>
            </a:r>
            <a:r>
              <a:rPr lang="en-US" sz="2000" dirty="0" smtClean="0"/>
              <a:t>the default is #total number of cor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park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3727" y="1118064"/>
            <a:ext cx="2085975" cy="298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9391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dirty="0" smtClean="0"/>
              <a:t>Data Partitioning – single small fi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14401"/>
            <a:ext cx="5379333" cy="3720352"/>
          </a:xfrm>
        </p:spPr>
        <p:txBody>
          <a:bodyPr>
            <a:normAutofit/>
          </a:bodyPr>
          <a:lstStyle/>
          <a:p>
            <a:r>
              <a:rPr lang="en-US" sz="2400" dirty="0" smtClean="0"/>
              <a:t>Small </a:t>
            </a:r>
            <a:r>
              <a:rPr lang="en-US" sz="2400" dirty="0" smtClean="0">
                <a:sym typeface="Wingdings" panose="05000000000000000000" pitchFamily="2" charset="2"/>
              </a:rPr>
              <a:t>– less than 1 HDFS block</a:t>
            </a:r>
          </a:p>
          <a:p>
            <a:r>
              <a:rPr lang="en-US" sz="2400" dirty="0" smtClean="0">
                <a:sym typeface="Wingdings" panose="05000000000000000000" pitchFamily="2" charset="2"/>
              </a:rPr>
              <a:t>Partitions based in size</a:t>
            </a:r>
          </a:p>
          <a:p>
            <a:r>
              <a:rPr lang="en-US" sz="2400" dirty="0" smtClean="0">
                <a:sym typeface="Wingdings" panose="05000000000000000000" pitchFamily="2" charset="2"/>
              </a:rPr>
              <a:t>Optionally minimum can be specified</a:t>
            </a:r>
          </a:p>
          <a:p>
            <a:pPr marL="179388" lvl="1" indent="0">
              <a:buNone/>
            </a:pP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	</a:t>
            </a:r>
            <a:r>
              <a:rPr lang="en-US" sz="2000" dirty="0" err="1" smtClean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textFile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(file, </a:t>
            </a:r>
            <a:r>
              <a:rPr lang="en-US" sz="2000" dirty="0" err="1" smtClean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minPartitions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)</a:t>
            </a:r>
          </a:p>
          <a:p>
            <a:r>
              <a:rPr lang="en-US" sz="2400" dirty="0" smtClean="0">
                <a:cs typeface="Courier New" panose="02070309020205020404" pitchFamily="49" charset="0"/>
                <a:sym typeface="Wingdings" panose="05000000000000000000" pitchFamily="2" charset="2"/>
              </a:rPr>
              <a:t>Default is 2</a:t>
            </a:r>
          </a:p>
          <a:p>
            <a:r>
              <a:rPr lang="en-US" sz="2400" dirty="0" smtClean="0">
                <a:cs typeface="Courier New" panose="02070309020205020404" pitchFamily="49" charset="0"/>
                <a:sym typeface="Wingdings" panose="05000000000000000000" pitchFamily="2" charset="2"/>
              </a:rPr>
              <a:t>More partitions  more parallelization</a:t>
            </a:r>
            <a:endParaRPr lang="en-US" sz="2400" dirty="0" smtClean="0"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park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6604" y="1371279"/>
            <a:ext cx="2943225" cy="291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94539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dirty="0" smtClean="0"/>
              <a:t>Data Partitioning – single big fi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14401"/>
            <a:ext cx="8237956" cy="904125"/>
          </a:xfrm>
        </p:spPr>
        <p:txBody>
          <a:bodyPr>
            <a:normAutofit/>
          </a:bodyPr>
          <a:lstStyle/>
          <a:p>
            <a:r>
              <a:rPr lang="en-US" sz="2400" dirty="0" smtClean="0"/>
              <a:t>big </a:t>
            </a:r>
            <a:r>
              <a:rPr lang="en-US" sz="2400" dirty="0" smtClean="0">
                <a:sym typeface="Wingdings" panose="05000000000000000000" pitchFamily="2" charset="2"/>
              </a:rPr>
              <a:t>– more than 1 HDFS block</a:t>
            </a:r>
          </a:p>
          <a:p>
            <a:r>
              <a:rPr lang="en-US" sz="2400" dirty="0" smtClean="0">
                <a:sym typeface="Wingdings" panose="05000000000000000000" pitchFamily="2" charset="2"/>
              </a:rPr>
              <a:t>Default – one block / one partition</a:t>
            </a:r>
            <a:endParaRPr lang="en-US" sz="2400" dirty="0" smtClean="0"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park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4913" y="1797469"/>
            <a:ext cx="5939087" cy="3024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23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45260"/>
          </a:xfrm>
        </p:spPr>
        <p:txBody>
          <a:bodyPr/>
          <a:lstStyle/>
          <a:p>
            <a:r>
              <a:rPr lang="en-US" sz="2800" noProof="0" dirty="0" smtClean="0"/>
              <a:t>2. Spark Core Concepts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55" name="Inhaltsplatzhalter 5"/>
          <p:cNvSpPr>
            <a:spLocks noGrp="1"/>
          </p:cNvSpPr>
          <p:nvPr>
            <p:ph idx="1"/>
          </p:nvPr>
        </p:nvSpPr>
        <p:spPr>
          <a:xfrm>
            <a:off x="438150" y="1623450"/>
            <a:ext cx="8107456" cy="2249303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altLang="de-DE" sz="4400" noProof="0" dirty="0" smtClean="0"/>
              <a:t>What is Apache Spark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altLang="de-DE" sz="4400" noProof="0" dirty="0" smtClean="0"/>
              <a:t>Basic Concept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altLang="de-DE" sz="4400" noProof="0" dirty="0" smtClean="0"/>
              <a:t>The Spark Shell</a:t>
            </a:r>
            <a:endParaRPr lang="en-US" altLang="de-DE" sz="2800" noProof="0" dirty="0"/>
          </a:p>
        </p:txBody>
      </p:sp>
    </p:spTree>
    <p:extLst>
      <p:ext uri="{BB962C8B-B14F-4D97-AF65-F5344CB8AC3E}">
        <p14:creationId xmlns:p14="http://schemas.microsoft.com/office/powerpoint/2010/main" val="3950283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dirty="0" smtClean="0"/>
              <a:t>Data Partitioning – multiple small fi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14401"/>
            <a:ext cx="5782432" cy="3883630"/>
          </a:xfrm>
        </p:spPr>
        <p:txBody>
          <a:bodyPr>
            <a:normAutofit/>
          </a:bodyPr>
          <a:lstStyle/>
          <a:p>
            <a:pPr marL="179388" lvl="1" indent="-179388">
              <a:spcBef>
                <a:spcPts val="600"/>
              </a:spcBef>
            </a:pPr>
            <a:r>
              <a:rPr lang="en-US" sz="2000" dirty="0" err="1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textFile</a:t>
            </a:r>
            <a:r>
              <a:rPr lang="en-US" sz="2000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(file, </a:t>
            </a:r>
            <a:r>
              <a:rPr lang="en-US" sz="2000" dirty="0" err="1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minPartitions</a:t>
            </a:r>
            <a:r>
              <a:rPr lang="en-US" sz="2000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)</a:t>
            </a:r>
          </a:p>
          <a:p>
            <a:r>
              <a:rPr lang="en-US" sz="2400" dirty="0" smtClean="0">
                <a:sym typeface="Wingdings" panose="05000000000000000000" pitchFamily="2" charset="2"/>
              </a:rPr>
              <a:t>Each file becomes (at least) one partition</a:t>
            </a:r>
          </a:p>
          <a:p>
            <a:r>
              <a:rPr lang="en-US" sz="2400" dirty="0" smtClean="0">
                <a:sym typeface="Wingdings" panose="05000000000000000000" pitchFamily="2" charset="2"/>
              </a:rPr>
              <a:t>File-based operations can be done per partition</a:t>
            </a:r>
          </a:p>
          <a:p>
            <a:r>
              <a:rPr lang="en-US" sz="2400" dirty="0" smtClean="0">
                <a:sym typeface="Wingdings" panose="05000000000000000000" pitchFamily="2" charset="2"/>
              </a:rPr>
              <a:t>For many small files treat them as a single key-value RDD</a:t>
            </a:r>
          </a:p>
          <a:p>
            <a:pPr lvl="1"/>
            <a:r>
              <a:rPr lang="en-US" sz="2200" dirty="0" smtClean="0">
                <a:sym typeface="Wingdings" panose="05000000000000000000" pitchFamily="2" charset="2"/>
              </a:rPr>
              <a:t>key = file name</a:t>
            </a:r>
          </a:p>
          <a:p>
            <a:pPr lvl="1"/>
            <a:r>
              <a:rPr lang="en-US" sz="2200" dirty="0" smtClean="0">
                <a:sym typeface="Wingdings" panose="05000000000000000000" pitchFamily="2" charset="2"/>
              </a:rPr>
              <a:t>value = file contents</a:t>
            </a:r>
          </a:p>
          <a:p>
            <a:pPr lvl="1"/>
            <a:r>
              <a:rPr lang="en-US" sz="2200" dirty="0" smtClean="0">
                <a:sym typeface="Wingdings" panose="05000000000000000000" pitchFamily="2" charset="2"/>
              </a:rPr>
              <a:t>can be partitioned in a custom way – see later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park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6139" y="1037689"/>
            <a:ext cx="2765813" cy="3707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48224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dirty="0" smtClean="0"/>
              <a:t>Data Partitioning – oper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14401"/>
            <a:ext cx="8227682" cy="1150705"/>
          </a:xfrm>
        </p:spPr>
        <p:txBody>
          <a:bodyPr>
            <a:normAutofit/>
          </a:bodyPr>
          <a:lstStyle/>
          <a:p>
            <a:r>
              <a:rPr lang="en-US" sz="2000" dirty="0" smtClean="0">
                <a:sym typeface="Wingdings" panose="05000000000000000000" pitchFamily="2" charset="2"/>
              </a:rPr>
              <a:t>Most operations work on each element of an RDD</a:t>
            </a:r>
          </a:p>
          <a:p>
            <a:r>
              <a:rPr lang="en-US" sz="2000" dirty="0" smtClean="0">
                <a:sym typeface="Wingdings" panose="05000000000000000000" pitchFamily="2" charset="2"/>
              </a:rPr>
              <a:t>Few work on each partition – avoid element setup overhead</a:t>
            </a:r>
          </a:p>
          <a:p>
            <a:r>
              <a:rPr lang="en-US" sz="2000" dirty="0" smtClean="0">
                <a:sym typeface="Wingdings" panose="05000000000000000000" pitchFamily="2" charset="2"/>
              </a:rPr>
              <a:t>Functions per partitions take iterator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park</a:t>
            </a: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153" y="2065105"/>
            <a:ext cx="7550236" cy="2024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180" y="4161034"/>
            <a:ext cx="7053980" cy="579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58824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dirty="0" smtClean="0"/>
              <a:t>Data Partitioning for Key/Value RDD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14401"/>
            <a:ext cx="5096481" cy="3567112"/>
          </a:xfrm>
        </p:spPr>
        <p:txBody>
          <a:bodyPr>
            <a:normAutofit/>
          </a:bodyPr>
          <a:lstStyle/>
          <a:p>
            <a:r>
              <a:rPr lang="en-US" sz="1800" dirty="0"/>
              <a:t>P</a:t>
            </a:r>
            <a:r>
              <a:rPr lang="en-US" sz="1800" dirty="0" smtClean="0"/>
              <a:t>artitioning is available for all RDDs of key/value pairs</a:t>
            </a:r>
          </a:p>
          <a:p>
            <a:r>
              <a:rPr lang="en-US" sz="1800" dirty="0" smtClean="0"/>
              <a:t>It causes the system to </a:t>
            </a:r>
            <a:r>
              <a:rPr lang="en-US" sz="1800" b="1" dirty="0" smtClean="0"/>
              <a:t>group elements </a:t>
            </a:r>
            <a:r>
              <a:rPr lang="en-US" sz="1800" dirty="0" smtClean="0"/>
              <a:t>based on a function of </a:t>
            </a:r>
            <a:r>
              <a:rPr lang="en-US" sz="1800" b="1" dirty="0" smtClean="0"/>
              <a:t>each key</a:t>
            </a:r>
            <a:r>
              <a:rPr lang="en-US" sz="1800" dirty="0" smtClean="0"/>
              <a:t>. </a:t>
            </a:r>
          </a:p>
          <a:p>
            <a:r>
              <a:rPr lang="en-US" sz="1800" dirty="0" smtClean="0"/>
              <a:t>Spark does not give explicit control of which worker node each key goes to but it lets the program </a:t>
            </a:r>
            <a:r>
              <a:rPr lang="en-US" sz="1800" b="1" dirty="0" smtClean="0"/>
              <a:t>ensure that a </a:t>
            </a:r>
            <a:r>
              <a:rPr lang="en-US" sz="1800" b="1" i="1" dirty="0" smtClean="0"/>
              <a:t>set </a:t>
            </a:r>
            <a:r>
              <a:rPr lang="en-US" sz="1800" b="1" dirty="0" smtClean="0"/>
              <a:t>of keys </a:t>
            </a:r>
            <a:r>
              <a:rPr lang="en-US" sz="1800" dirty="0" smtClean="0"/>
              <a:t>will appear together on the same node </a:t>
            </a:r>
            <a:r>
              <a:rPr lang="en-US" sz="1800" b="1" i="1" dirty="0" smtClean="0"/>
              <a:t>somewhere</a:t>
            </a:r>
            <a:r>
              <a:rPr lang="en-US" sz="1800" dirty="0" smtClean="0"/>
              <a:t>.</a:t>
            </a:r>
          </a:p>
          <a:p>
            <a:r>
              <a:rPr lang="en-US" sz="1800" dirty="0" smtClean="0"/>
              <a:t>For example, you might choose to hash-partition an RDD into 100 partitions so that keys that have the same hash value modulo 100 appear on the same node</a:t>
            </a:r>
            <a:endParaRPr lang="en-US" sz="18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park</a:t>
            </a:r>
            <a:endParaRPr lang="en-US" dirty="0"/>
          </a:p>
        </p:txBody>
      </p:sp>
      <p:pic>
        <p:nvPicPr>
          <p:cNvPr id="3074" name="Picture 2" descr="https://sandeepknol.files.wordpress.com/2015/06/p1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3585" y="914401"/>
            <a:ext cx="3286498" cy="1999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4827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Partition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30928"/>
            <a:ext cx="8243888" cy="3755372"/>
          </a:xfrm>
        </p:spPr>
        <p:txBody>
          <a:bodyPr>
            <a:normAutofit fontScale="47500" lnSpcReduction="20000"/>
          </a:bodyPr>
          <a:lstStyle/>
          <a:p>
            <a:r>
              <a:rPr lang="en-US" sz="4200" dirty="0" smtClean="0"/>
              <a:t>Example (works but it is not efficient)</a:t>
            </a:r>
          </a:p>
          <a:p>
            <a:pPr marL="400050" lvl="1" indent="0">
              <a:buNone/>
            </a:pPr>
            <a:r>
              <a:rPr lang="en-US" sz="25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Initialization code; we load the user info from a Hadoop </a:t>
            </a:r>
            <a:r>
              <a:rPr lang="en-US" sz="2500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quenceFile</a:t>
            </a:r>
            <a:r>
              <a:rPr lang="en-US" sz="25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on HDFS.</a:t>
            </a:r>
          </a:p>
          <a:p>
            <a:pPr marL="400050" lvl="1" indent="0">
              <a:buNone/>
            </a:pPr>
            <a:r>
              <a:rPr lang="en-US" sz="25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This distributes elements of </a:t>
            </a:r>
            <a:r>
              <a:rPr lang="en-US" sz="2500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serData</a:t>
            </a:r>
            <a:r>
              <a:rPr lang="en-US" sz="25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by the HDFS block where they are found,</a:t>
            </a:r>
          </a:p>
          <a:p>
            <a:pPr marL="400050" lvl="1" indent="0">
              <a:buNone/>
            </a:pPr>
            <a:r>
              <a:rPr lang="en-US" sz="25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and doesn't provide Spark with any way of knowing in which partition a</a:t>
            </a:r>
          </a:p>
          <a:p>
            <a:pPr marL="400050" lvl="1" indent="0">
              <a:buNone/>
            </a:pPr>
            <a:r>
              <a:rPr lang="en-US" sz="25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particular </a:t>
            </a:r>
            <a:r>
              <a:rPr lang="en-US" sz="2500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25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is located.</a:t>
            </a:r>
          </a:p>
          <a:p>
            <a:pPr marL="400050" lvl="1" indent="0">
              <a:buNone/>
            </a:pPr>
            <a:endParaRPr lang="en-US" sz="2500" i="1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25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5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5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</a:t>
            </a: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5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new </a:t>
            </a:r>
            <a:r>
              <a:rPr lang="en-US" sz="25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parkContext</a:t>
            </a: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...)</a:t>
            </a:r>
          </a:p>
          <a:p>
            <a:pPr marL="400050" lvl="1" indent="0">
              <a:buNone/>
            </a:pPr>
            <a:r>
              <a:rPr lang="en-US" sz="25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5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5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serData</a:t>
            </a: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5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25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sequenceFile</a:t>
            </a: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25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25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serInfo</a:t>
            </a: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("</a:t>
            </a:r>
            <a:r>
              <a:rPr lang="en-US" sz="25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dfs</a:t>
            </a: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//...").persist()</a:t>
            </a:r>
          </a:p>
          <a:p>
            <a:pPr marL="400050" lvl="1" indent="0">
              <a:buNone/>
            </a:pPr>
            <a:endParaRPr lang="en-US" sz="2500" i="1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25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Function called periodically to process a </a:t>
            </a:r>
            <a:r>
              <a:rPr lang="en-US" sz="2500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ogfile</a:t>
            </a:r>
            <a:r>
              <a:rPr lang="en-US" sz="25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of events in the past 5 minutes;</a:t>
            </a:r>
          </a:p>
          <a:p>
            <a:pPr marL="400050" lvl="1" indent="0">
              <a:buNone/>
            </a:pPr>
            <a:r>
              <a:rPr lang="en-US" sz="25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we assume that this is a </a:t>
            </a:r>
            <a:r>
              <a:rPr lang="en-US" sz="2500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quenceFile</a:t>
            </a:r>
            <a:r>
              <a:rPr lang="en-US" sz="25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ontaining (</a:t>
            </a:r>
            <a:r>
              <a:rPr lang="en-US" sz="2500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25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2500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kInfo</a:t>
            </a:r>
            <a:r>
              <a:rPr lang="en-US" sz="25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pairs.</a:t>
            </a:r>
          </a:p>
          <a:p>
            <a:pPr marL="400050" lvl="1" indent="0">
              <a:buNone/>
            </a:pPr>
            <a:r>
              <a:rPr lang="en-US" sz="25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25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5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ocessNewLogs</a:t>
            </a: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25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ogFileName</a:t>
            </a:r>
            <a:r>
              <a:rPr lang="en-US" sz="25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String</a:t>
            </a: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 marL="800100" lvl="2" indent="0">
              <a:buNone/>
            </a:pPr>
            <a:r>
              <a:rPr lang="en-US" sz="25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5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events </a:t>
            </a:r>
            <a:r>
              <a:rPr lang="en-US" sz="25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25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sequenceFile</a:t>
            </a: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25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25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kInfo</a:t>
            </a: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(</a:t>
            </a:r>
            <a:r>
              <a:rPr lang="en-US" sz="25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ogFileName</a:t>
            </a: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800100" lvl="2" indent="0">
              <a:buNone/>
            </a:pPr>
            <a:r>
              <a:rPr lang="en-US" sz="2500" b="1" dirty="0" err="1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500" b="1" dirty="0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joined = </a:t>
            </a:r>
            <a:r>
              <a:rPr lang="en-US" sz="2500" b="1" dirty="0" err="1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Data.join</a:t>
            </a:r>
            <a:r>
              <a:rPr lang="en-US" sz="2500" b="1" dirty="0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events)</a:t>
            </a:r>
            <a:r>
              <a:rPr lang="en-US" sz="2500" i="1" dirty="0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en-US" sz="25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DD of (</a:t>
            </a:r>
            <a:r>
              <a:rPr lang="en-US" sz="2500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25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(</a:t>
            </a:r>
            <a:r>
              <a:rPr lang="en-US" sz="2500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serInfo</a:t>
            </a:r>
            <a:r>
              <a:rPr lang="en-US" sz="25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2500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kInfo</a:t>
            </a:r>
            <a:r>
              <a:rPr lang="en-US" sz="25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) pairs</a:t>
            </a:r>
          </a:p>
          <a:p>
            <a:pPr marL="800100" lvl="2" indent="0">
              <a:buNone/>
            </a:pPr>
            <a:r>
              <a:rPr lang="en-US" sz="25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5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5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offTopicVisits</a:t>
            </a: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5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25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joined.filter</a:t>
            </a: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</a:p>
          <a:p>
            <a:pPr marL="1257300" lvl="3" indent="0">
              <a:buNone/>
            </a:pPr>
            <a:r>
              <a:rPr lang="en-US" sz="25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 </a:t>
            </a: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25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(</a:t>
            </a:r>
            <a:r>
              <a:rPr lang="en-US" sz="25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serInfo</a:t>
            </a: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25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kInfo</a:t>
            </a: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) </a:t>
            </a:r>
            <a:r>
              <a:rPr lang="en-US" sz="25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 </a:t>
            </a:r>
            <a:r>
              <a:rPr lang="en-US" sz="25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Expand the tuple into its components</a:t>
            </a:r>
          </a:p>
          <a:p>
            <a:pPr marL="1257300" lvl="3" indent="0">
              <a:buNone/>
            </a:pP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…</a:t>
            </a:r>
          </a:p>
          <a:p>
            <a:pPr marL="800100" lvl="2" indent="0">
              <a:buNone/>
            </a:pP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.count()</a:t>
            </a:r>
          </a:p>
          <a:p>
            <a:pPr marL="800100" lvl="2" indent="0">
              <a:buNone/>
            </a:pPr>
            <a:r>
              <a:rPr lang="en-US" sz="25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Number of visits to non-subscribed topics: " + </a:t>
            </a:r>
            <a:r>
              <a:rPr lang="en-US" sz="25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offTopicVisits</a:t>
            </a: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400050" lvl="1" indent="0">
              <a:buNone/>
            </a:pP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en-US" sz="25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6347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Partition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04034"/>
            <a:ext cx="5298187" cy="3849501"/>
          </a:xfrm>
        </p:spPr>
        <p:txBody>
          <a:bodyPr>
            <a:normAutofit lnSpcReduction="10000"/>
          </a:bodyPr>
          <a:lstStyle/>
          <a:p>
            <a:r>
              <a:rPr lang="en-US" sz="2400" dirty="0" smtClean="0"/>
              <a:t>Why is not efficient?</a:t>
            </a:r>
          </a:p>
          <a:p>
            <a:r>
              <a:rPr lang="en-US" sz="2000" dirty="0" smtClean="0"/>
              <a:t>The join() operation is called each time </a:t>
            </a:r>
            <a:r>
              <a:rPr lang="en-US" sz="2000" b="1" dirty="0" err="1" smtClean="0"/>
              <a:t>processNewLogs</a:t>
            </a:r>
            <a:r>
              <a:rPr lang="en-US" sz="2000" dirty="0" smtClean="0"/>
              <a:t>() is invoked.</a:t>
            </a:r>
          </a:p>
          <a:p>
            <a:r>
              <a:rPr lang="en-US" sz="2000" dirty="0" smtClean="0"/>
              <a:t>It does not know anything about how the keys are partitioned in the datasets, </a:t>
            </a:r>
            <a:r>
              <a:rPr lang="en-US" sz="2000" dirty="0"/>
              <a:t>so the </a:t>
            </a:r>
            <a:r>
              <a:rPr lang="en-US" sz="2000" b="1" dirty="0" err="1"/>
              <a:t>userData</a:t>
            </a:r>
            <a:r>
              <a:rPr lang="en-US" sz="2000" dirty="0"/>
              <a:t> table is hashed and shuffled across the network on every call, even though it doesn’t </a:t>
            </a:r>
            <a:r>
              <a:rPr lang="en-US" sz="2000" dirty="0" smtClean="0"/>
              <a:t>change.</a:t>
            </a:r>
            <a:endParaRPr lang="en-US" sz="2000" dirty="0"/>
          </a:p>
          <a:p>
            <a:r>
              <a:rPr lang="en-US" sz="2000" dirty="0" smtClean="0"/>
              <a:t>Because we expect the </a:t>
            </a:r>
            <a:r>
              <a:rPr lang="en-US" sz="2000" b="1" dirty="0" err="1" smtClean="0"/>
              <a:t>userData</a:t>
            </a:r>
            <a:r>
              <a:rPr lang="en-US" sz="2000" dirty="0" smtClean="0"/>
              <a:t> table to be much larger than the small </a:t>
            </a:r>
            <a:r>
              <a:rPr lang="en-US" sz="2000" b="1" dirty="0" smtClean="0"/>
              <a:t>log of events </a:t>
            </a:r>
            <a:r>
              <a:rPr lang="en-US" sz="2000" dirty="0" smtClean="0"/>
              <a:t>seen every five minutes, this wastes a lot of work: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park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2534" y="991720"/>
            <a:ext cx="3558907" cy="24708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73440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3807" y="878481"/>
            <a:ext cx="3434680" cy="2505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ta Partitioning - Solu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8260" y="878481"/>
            <a:ext cx="7227793" cy="3854884"/>
          </a:xfrm>
        </p:spPr>
        <p:txBody>
          <a:bodyPr>
            <a:normAutofit lnSpcReduction="10000"/>
          </a:bodyPr>
          <a:lstStyle/>
          <a:p>
            <a:pPr lvl="1"/>
            <a:r>
              <a:rPr lang="en-US" sz="1600" dirty="0" smtClean="0"/>
              <a:t>Use 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org.apache.spark.HashPartitioner</a:t>
            </a:r>
            <a:r>
              <a:rPr lang="en-US" sz="1600" dirty="0" smtClean="0"/>
              <a:t> with </a:t>
            </a:r>
          </a:p>
          <a:p>
            <a:pPr marL="179388" lvl="1" indent="0">
              <a:buNone/>
            </a:pPr>
            <a:r>
              <a:rPr lang="en-US" sz="1600" dirty="0" smtClean="0"/>
              <a:t>the </a:t>
            </a:r>
            <a:r>
              <a:rPr lang="en-US" sz="1600" b="1" dirty="0" smtClean="0"/>
              <a:t>transformation</a:t>
            </a:r>
            <a:r>
              <a:rPr lang="en-US" sz="1600" dirty="0" smtClean="0"/>
              <a:t>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artitionBy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en-US" sz="1600" dirty="0" smtClean="0"/>
              <a:t>:</a:t>
            </a:r>
          </a:p>
          <a:p>
            <a:pPr marL="179388" lvl="1" indent="0">
              <a:buNone/>
            </a:pPr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79388" lvl="1" indent="0">
              <a:buNone/>
            </a:pPr>
            <a:r>
              <a:rPr lang="en-US" sz="16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new </a:t>
            </a:r>
            <a:r>
              <a:rPr lang="en-US" sz="16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parkContext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...)</a:t>
            </a:r>
          </a:p>
          <a:p>
            <a:pPr marL="179388" lvl="1" indent="0">
              <a:buNone/>
            </a:pPr>
            <a:r>
              <a:rPr lang="en-US" sz="16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serData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sequenceFile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6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	</a:t>
            </a:r>
            <a:r>
              <a:rPr lang="en-US" sz="16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serInfo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("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dfs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//...")</a:t>
            </a:r>
          </a:p>
          <a:p>
            <a:pPr marL="542925" lvl="4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artitionBy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new </a:t>
            </a:r>
            <a:r>
              <a:rPr lang="en-US" sz="16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ashPartitioner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100)) </a:t>
            </a:r>
          </a:p>
          <a:p>
            <a:pPr marL="542925" lvl="4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Create 100 partitions</a:t>
            </a:r>
          </a:p>
          <a:p>
            <a:pPr marL="542925" lvl="4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persist()</a:t>
            </a:r>
          </a:p>
          <a:p>
            <a:pPr marL="542925" lvl="4" indent="0"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en-US" sz="1600" dirty="0" smtClean="0"/>
              <a:t>Because we called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artitionBy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en-US" sz="1600" dirty="0" smtClean="0"/>
              <a:t>when building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serData</a:t>
            </a:r>
            <a:r>
              <a:rPr lang="en-US" sz="1600" dirty="0" smtClean="0"/>
              <a:t>, Spark will now know that it is hash-partitioned, and calls to join() on it will take advantage of this information. When we call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user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ata.join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events)</a:t>
            </a:r>
            <a:r>
              <a:rPr lang="en-US" sz="1600" dirty="0" smtClean="0"/>
              <a:t>, Spark will shuffle only the events RDD, sending events with each particular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serID</a:t>
            </a:r>
            <a:r>
              <a:rPr lang="en-US" sz="1600" dirty="0" smtClean="0"/>
              <a:t> to the machine that contains the corresponding hash partition of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serData</a:t>
            </a:r>
            <a:endParaRPr lang="en-US" sz="16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endParaRPr lang="en-US" sz="16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5189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ta Partitioning -- Solu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park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6337" y="858691"/>
            <a:ext cx="3257575" cy="2376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94130" y="858691"/>
            <a:ext cx="5732207" cy="3854884"/>
          </a:xfrm>
        </p:spPr>
        <p:txBody>
          <a:bodyPr>
            <a:noAutofit/>
          </a:bodyPr>
          <a:lstStyle/>
          <a:p>
            <a:pPr marL="285750" indent="-285750">
              <a:spcBef>
                <a:spcPct val="20000"/>
              </a:spcBef>
            </a:pPr>
            <a:r>
              <a:rPr lang="en-US" sz="1800" dirty="0" smtClean="0"/>
              <a:t>It is important to </a:t>
            </a:r>
            <a:r>
              <a:rPr lang="en-US" sz="1800" b="1" dirty="0" smtClean="0"/>
              <a:t>persist</a:t>
            </a:r>
            <a:r>
              <a:rPr lang="en-US" sz="1800" dirty="0" smtClean="0"/>
              <a:t> 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serData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dirty="0" smtClean="0"/>
              <a:t>otherwise subsequent uses of the RDD will result in </a:t>
            </a:r>
            <a:r>
              <a:rPr lang="en-US" sz="1800" b="1" dirty="0" smtClean="0"/>
              <a:t>complete lineage revaluation</a:t>
            </a:r>
            <a:r>
              <a:rPr lang="en-US" sz="1800" dirty="0" smtClean="0"/>
              <a:t>, repeated partitioning and </a:t>
            </a:r>
            <a:r>
              <a:rPr lang="en-US" sz="1800" b="1" dirty="0" smtClean="0"/>
              <a:t>shuffling</a:t>
            </a:r>
            <a:r>
              <a:rPr lang="en-US" sz="1800" dirty="0" smtClean="0"/>
              <a:t> data across the network</a:t>
            </a:r>
          </a:p>
          <a:p>
            <a:pPr marL="285750" indent="-285750">
              <a:spcBef>
                <a:spcPct val="20000"/>
              </a:spcBef>
            </a:pPr>
            <a:r>
              <a:rPr lang="en-US" sz="1800" dirty="0" smtClean="0"/>
              <a:t>The </a:t>
            </a:r>
            <a:r>
              <a:rPr lang="en-US" sz="1800" b="1" dirty="0" smtClean="0"/>
              <a:t>number of partitions </a:t>
            </a:r>
            <a:r>
              <a:rPr lang="en-US" sz="1800" dirty="0" smtClean="0"/>
              <a:t>control how many parallel </a:t>
            </a:r>
            <a:r>
              <a:rPr lang="en-US" sz="1800" b="1" dirty="0" smtClean="0"/>
              <a:t>tasks</a:t>
            </a:r>
            <a:r>
              <a:rPr lang="en-US" sz="1800" dirty="0" smtClean="0"/>
              <a:t> will be performed on the RDD (e.g. joins)</a:t>
            </a:r>
          </a:p>
          <a:p>
            <a: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</a:pPr>
            <a:r>
              <a:rPr lang="en-US" sz="1800" dirty="0" smtClean="0">
                <a:sym typeface="Wingdings" panose="05000000000000000000" pitchFamily="2" charset="2"/>
              </a:rPr>
              <a:t>at least as large of the number of cores in the cluster</a:t>
            </a:r>
          </a:p>
          <a:p>
            <a: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</a:pPr>
            <a:r>
              <a:rPr lang="en-US" sz="1800" dirty="0" smtClean="0">
                <a:sym typeface="Wingdings" panose="05000000000000000000" pitchFamily="2" charset="2"/>
              </a:rPr>
              <a:t>or even slightly more</a:t>
            </a:r>
            <a:endParaRPr lang="en-US" sz="1800" dirty="0" smtClean="0"/>
          </a:p>
          <a:p>
            <a:pPr marL="285750" indent="-285750">
              <a:spcBef>
                <a:spcPct val="20000"/>
              </a:spcBef>
            </a:pPr>
            <a:r>
              <a:rPr lang="en-US" sz="1800" dirty="0" smtClean="0"/>
              <a:t>It’s possible use </a:t>
            </a:r>
            <a:r>
              <a:rPr lang="en-US" sz="1800" b="1" dirty="0" smtClean="0"/>
              <a:t>others</a:t>
            </a:r>
            <a:r>
              <a:rPr lang="en-US" sz="1800" dirty="0" smtClean="0"/>
              <a:t> (</a:t>
            </a:r>
            <a:r>
              <a:rPr lang="en-US" sz="1800" dirty="0" err="1" smtClean="0"/>
              <a:t>RangePartitioner</a:t>
            </a:r>
            <a:r>
              <a:rPr lang="en-US" sz="1800" dirty="0" smtClean="0"/>
              <a:t>) or  implement our own </a:t>
            </a:r>
            <a:r>
              <a:rPr lang="en-US" sz="1800" dirty="0" err="1" smtClean="0"/>
              <a:t>partitioner</a:t>
            </a:r>
            <a:r>
              <a:rPr lang="en-US" sz="1800" dirty="0" smtClean="0"/>
              <a:t> from </a:t>
            </a:r>
            <a:r>
              <a:rPr lang="en-US" sz="1800" dirty="0" err="1" smtClean="0"/>
              <a:t>org.apache.spark.Partitioner</a:t>
            </a:r>
            <a:endParaRPr lang="en-US" sz="1800" dirty="0" smtClean="0"/>
          </a:p>
          <a:p>
            <a:pPr marL="285750" indent="-285750">
              <a:spcBef>
                <a:spcPct val="20000"/>
              </a:spcBef>
            </a:pPr>
            <a:endParaRPr lang="en-US" sz="1800" dirty="0" smtClean="0"/>
          </a:p>
          <a:p>
            <a:pPr lvl="1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0561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efine the RDD Data </a:t>
            </a:r>
            <a:r>
              <a:rPr lang="en-US" dirty="0" err="1" smtClean="0"/>
              <a:t>Partition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072123"/>
            <a:ext cx="9144000" cy="3190595"/>
          </a:xfrm>
        </p:spPr>
        <p:txBody>
          <a:bodyPr>
            <a:noAutofit/>
          </a:bodyPr>
          <a:lstStyle/>
          <a:p>
            <a:pPr marL="219075" indent="0">
              <a:buNone/>
            </a:pP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n-US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pairs 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parallelize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List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(1, 1), (2, 2), (3, 3)))</a:t>
            </a:r>
          </a:p>
          <a:p>
            <a:pPr marL="219075" indent="0"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pairs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park.RDD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(</a:t>
            </a:r>
            <a:r>
              <a:rPr lang="en-US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] 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arallelCollectionRDD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0] at parallelize at &lt;console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: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12</a:t>
            </a:r>
          </a:p>
          <a:p>
            <a:pPr marL="219075" indent="0">
              <a:buNone/>
            </a:pP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airs.partitioner</a:t>
            </a:r>
            <a:endParaRPr lang="en-US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19075" indent="0"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0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Option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park.Partitioner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None</a:t>
            </a:r>
          </a:p>
          <a:p>
            <a:pPr marL="219075" indent="0">
              <a:buNone/>
            </a:pP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en-US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org.apache.spark.HashPartitioner</a:t>
            </a:r>
            <a:endParaRPr lang="en-US" b="1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19075" indent="0">
              <a:buNone/>
            </a:pP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en-US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org.apache.spark.HashPartitioner</a:t>
            </a:r>
            <a:endParaRPr lang="en-US" b="1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19075" indent="0">
              <a:buNone/>
            </a:pP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n-US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partitioned 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airs.partitionBy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new </a:t>
            </a:r>
            <a:r>
              <a:rPr lang="en-US" b="1" dirty="0" err="1" smtClean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shPartitioner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2)).persist()</a:t>
            </a:r>
          </a:p>
          <a:p>
            <a:pPr marL="219075" indent="0"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partitioned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park.RDD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(</a:t>
            </a:r>
            <a:r>
              <a:rPr lang="en-US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] 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huffledRDD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1] at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artitionBy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at &lt;console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: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14</a:t>
            </a:r>
          </a:p>
          <a:p>
            <a:pPr marL="219075" indent="0">
              <a:buNone/>
            </a:pP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artitioned.partitioner</a:t>
            </a:r>
            <a:endParaRPr lang="en-US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19075" indent="0"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1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Option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park.Partitioner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Some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  <a:hlinkClick r:id="rId2"/>
              </a:rPr>
              <a:t>spark.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  <a:hlinkClick r:id="rId2"/>
              </a:rPr>
              <a:t>HashPartitioner@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  <a:hlinkClick r:id="rId2"/>
              </a:rPr>
              <a:t>5147788d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7289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hen RDD Data Partitioning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park</a:t>
            </a:r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 bwMode="gray">
          <a:xfrm>
            <a:off x="312622" y="867335"/>
            <a:ext cx="8629671" cy="38525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9388" indent="-179388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388" lvl="2" indent="-179388">
              <a:spcBef>
                <a:spcPts val="600"/>
              </a:spcBef>
            </a:pPr>
            <a:r>
              <a:rPr lang="en-US" sz="1400" b="1" dirty="0" smtClean="0">
                <a:cs typeface="ＭＳ Ｐゴシック" charset="0"/>
              </a:rPr>
              <a:t>Operations </a:t>
            </a:r>
            <a:r>
              <a:rPr lang="en-US" sz="1400" b="1" dirty="0">
                <a:cs typeface="ＭＳ Ｐゴシック" charset="0"/>
              </a:rPr>
              <a:t>That Benefit from </a:t>
            </a:r>
            <a:r>
              <a:rPr lang="en-US" sz="1400" b="1" dirty="0" smtClean="0">
                <a:cs typeface="ＭＳ Ｐゴシック" charset="0"/>
              </a:rPr>
              <a:t>Partitioning</a:t>
            </a:r>
          </a:p>
          <a:p>
            <a:pPr lvl="1"/>
            <a:r>
              <a:rPr lang="en-US" sz="1400" b="1" dirty="0" smtClean="0"/>
              <a:t>One RDD</a:t>
            </a:r>
            <a:r>
              <a:rPr lang="en-US" sz="1400" dirty="0"/>
              <a:t>: All the values for each key to be computed locally on a single machine, requiring only the final, locally reduced value to be sent from each worker node back to the master</a:t>
            </a:r>
          </a:p>
          <a:p>
            <a:pPr lvl="2"/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roupByKey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,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duceByKey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, lookup()</a:t>
            </a:r>
            <a:endParaRPr lang="en-US" sz="1400" dirty="0"/>
          </a:p>
          <a:p>
            <a:pPr lvl="1"/>
            <a:r>
              <a:rPr lang="en-US" sz="1400" b="1" dirty="0" smtClean="0"/>
              <a:t>Two RDD</a:t>
            </a:r>
            <a:r>
              <a:rPr lang="en-US" sz="1400" dirty="0"/>
              <a:t>: </a:t>
            </a:r>
            <a:r>
              <a:rPr lang="en-US" sz="1400" dirty="0" smtClean="0"/>
              <a:t>-At </a:t>
            </a:r>
            <a:r>
              <a:rPr lang="en-US" sz="1400" dirty="0"/>
              <a:t>least one of the RDDs will not be shuffled. </a:t>
            </a:r>
            <a:r>
              <a:rPr lang="en-US" sz="1400" dirty="0" smtClean="0"/>
              <a:t>-If </a:t>
            </a:r>
            <a:r>
              <a:rPr lang="en-US" sz="1400" dirty="0"/>
              <a:t>both have the same </a:t>
            </a:r>
            <a:r>
              <a:rPr lang="en-US" sz="1400" dirty="0" err="1"/>
              <a:t>partitioner</a:t>
            </a:r>
            <a:r>
              <a:rPr lang="en-US" sz="1400" dirty="0"/>
              <a:t> and cached on the same server (</a:t>
            </a:r>
            <a:r>
              <a:rPr lang="en-US" sz="1400" dirty="0" err="1"/>
              <a:t>eg</a:t>
            </a:r>
            <a:r>
              <a:rPr lang="en-US" sz="1400" dirty="0"/>
              <a:t>. One was created from other using </a:t>
            </a:r>
            <a:r>
              <a:rPr lang="en-US" sz="1400" dirty="0" err="1"/>
              <a:t>mapValues</a:t>
            </a:r>
            <a:r>
              <a:rPr lang="en-US" sz="1400" dirty="0"/>
              <a:t>) then no shuffling will occur.</a:t>
            </a:r>
          </a:p>
          <a:p>
            <a:pPr lvl="2"/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group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, join(),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eftOuterJoin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,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ightOuterJoi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360363" lvl="2" indent="0">
              <a:buNone/>
            </a:pPr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b="1" dirty="0" smtClean="0">
                <a:cs typeface="ＭＳ Ｐゴシック" charset="0"/>
              </a:rPr>
              <a:t>Operations </a:t>
            </a:r>
            <a:r>
              <a:rPr lang="en-US" b="1" dirty="0">
                <a:cs typeface="ＭＳ Ｐゴシック" charset="0"/>
              </a:rPr>
              <a:t>That Affect Partitioning</a:t>
            </a:r>
          </a:p>
          <a:p>
            <a:pPr lvl="1"/>
            <a:r>
              <a:rPr lang="en-US" sz="1400" dirty="0"/>
              <a:t>if you call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map() </a:t>
            </a:r>
            <a:r>
              <a:rPr lang="en-US" sz="1400" dirty="0"/>
              <a:t>on a hash-partitioned RDD of key/value pairs, the function passed to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map() </a:t>
            </a:r>
            <a:r>
              <a:rPr lang="en-US" sz="1400" dirty="0"/>
              <a:t>can in theory change the key of each element, so the result will not have a </a:t>
            </a:r>
            <a:r>
              <a:rPr lang="en-US" sz="1400" dirty="0" err="1"/>
              <a:t>partitioner</a:t>
            </a:r>
            <a:endParaRPr lang="en-US" sz="1400" dirty="0"/>
          </a:p>
          <a:p>
            <a:pPr lvl="1"/>
            <a:r>
              <a:rPr lang="en-US" sz="1400" dirty="0" smtClean="0"/>
              <a:t>Therefore, operations </a:t>
            </a:r>
            <a:r>
              <a:rPr lang="en-US" sz="1400" dirty="0"/>
              <a:t>that result in a </a:t>
            </a:r>
            <a:r>
              <a:rPr lang="en-US" sz="1400" dirty="0" err="1"/>
              <a:t>partitioner</a:t>
            </a:r>
            <a:r>
              <a:rPr lang="en-US" sz="1400" dirty="0"/>
              <a:t> being set on the output RDD:</a:t>
            </a:r>
          </a:p>
          <a:p>
            <a:pPr lvl="2"/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group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, join(),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eftOuterJoin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,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ightOuterJoin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,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roupByKey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,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duceByKey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,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artitionBy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, sort()</a:t>
            </a:r>
          </a:p>
          <a:p>
            <a:pPr lvl="1"/>
            <a:r>
              <a:rPr lang="en-US" sz="1400" dirty="0" smtClean="0">
                <a:cs typeface="Courier New" panose="02070309020205020404" pitchFamily="49" charset="0"/>
              </a:rPr>
              <a:t>If </a:t>
            </a:r>
            <a:r>
              <a:rPr lang="en-US" sz="1400" dirty="0">
                <a:cs typeface="Courier New" panose="02070309020205020404" pitchFamily="49" charset="0"/>
              </a:rPr>
              <a:t>the parent RDD has a </a:t>
            </a:r>
            <a:r>
              <a:rPr lang="en-US" sz="1400" dirty="0" err="1">
                <a:cs typeface="Courier New" panose="02070309020205020404" pitchFamily="49" charset="0"/>
              </a:rPr>
              <a:t>partitioner</a:t>
            </a:r>
            <a:r>
              <a:rPr lang="en-US" sz="1400" dirty="0">
                <a:cs typeface="Courier New" panose="02070309020205020404" pitchFamily="49" charset="0"/>
              </a:rPr>
              <a:t>: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apValues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en-US" sz="1400" dirty="0">
                <a:cs typeface="Courier New" panose="02070309020205020404" pitchFamily="49" charset="0"/>
              </a:rPr>
              <a:t>,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latMapValues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,filter()</a:t>
            </a:r>
          </a:p>
          <a:p>
            <a:pPr marL="179388" lvl="2" indent="-179388">
              <a:spcBef>
                <a:spcPts val="600"/>
              </a:spcBef>
            </a:pPr>
            <a:endParaRPr lang="en-US" dirty="0">
              <a:cs typeface="ＭＳ Ｐゴシック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9773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umeric RDD Oper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33152"/>
            <a:ext cx="8243888" cy="3362325"/>
          </a:xfrm>
        </p:spPr>
        <p:txBody>
          <a:bodyPr>
            <a:normAutofit/>
          </a:bodyPr>
          <a:lstStyle/>
          <a:p>
            <a:r>
              <a:rPr lang="en-US" sz="1800" dirty="0" smtClean="0"/>
              <a:t>Spark provides several descriptive statistics operations on RDDs containing numeric data</a:t>
            </a:r>
          </a:p>
          <a:p>
            <a:r>
              <a:rPr lang="en-US" sz="1800" dirty="0" smtClean="0"/>
              <a:t>The descriptive statistics are all computed in a single pass over the data and returned as a 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atsCounter</a:t>
            </a:r>
            <a:r>
              <a:rPr lang="en-US" sz="1800" dirty="0" smtClean="0"/>
              <a:t> object by calling 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tats()</a:t>
            </a:r>
            <a:r>
              <a:rPr lang="en-US" sz="1800" dirty="0" smtClean="0"/>
              <a:t>.</a:t>
            </a:r>
            <a:endParaRPr lang="en-US" sz="18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2043325"/>
            <a:ext cx="3332682" cy="259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3973606" y="2043325"/>
            <a:ext cx="5109882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en-GB" sz="12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move </a:t>
            </a:r>
            <a:r>
              <a:rPr lang="en-GB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outliers since those may have misreported locations</a:t>
            </a:r>
          </a:p>
          <a:p>
            <a:r>
              <a:rPr lang="en-GB" sz="1200" i="1" dirty="0">
                <a:latin typeface="Courier New" panose="02070309020205020404" pitchFamily="49" charset="0"/>
                <a:cs typeface="Courier New" panose="02070309020205020404" pitchFamily="49" charset="0"/>
              </a:rPr>
              <a:t>// first we need to take our RDD of strings and turn it into doubles</a:t>
            </a:r>
            <a:r>
              <a:rPr lang="en-GB" sz="12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</a:p>
          <a:p>
            <a:endParaRPr lang="en-GB" sz="1200" i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GB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istanceDoubl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istance.map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string </a:t>
            </a:r>
            <a:r>
              <a:rPr lang="en-GB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=&gt; </a:t>
            </a:r>
            <a:r>
              <a:rPr lang="en-GB" sz="12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					</a:t>
            </a:r>
            <a:r>
              <a:rPr lang="en-GB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ring.toDoubl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en-GB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GB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stats </a:t>
            </a:r>
            <a:r>
              <a:rPr lang="en-GB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istanceDoubles.stats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r>
              <a:rPr lang="en-GB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GB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ddev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ats.stdev</a:t>
            </a:r>
            <a:endParaRPr lang="en-GB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GB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mean </a:t>
            </a:r>
            <a:r>
              <a:rPr lang="en-GB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ats.mean</a:t>
            </a:r>
            <a:endParaRPr lang="en-GB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GB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sonableDistances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istanceDoubles.filter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x </a:t>
            </a:r>
            <a:r>
              <a:rPr lang="en-GB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	</a:t>
            </a:r>
            <a:r>
              <a:rPr lang="en-GB" sz="12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ath.abs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x-mean) &lt; 3 *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ddev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sonableDistance.collec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Lis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546689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45260"/>
          </a:xfrm>
        </p:spPr>
        <p:txBody>
          <a:bodyPr/>
          <a:lstStyle/>
          <a:p>
            <a:r>
              <a:rPr lang="en-US" sz="2800" noProof="0" dirty="0" smtClean="0"/>
              <a:t>Exercise 0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55" name="Inhaltsplatzhalter 5"/>
          <p:cNvSpPr>
            <a:spLocks noGrp="1"/>
          </p:cNvSpPr>
          <p:nvPr>
            <p:ph idx="1"/>
          </p:nvPr>
        </p:nvSpPr>
        <p:spPr>
          <a:xfrm>
            <a:off x="444503" y="1341062"/>
            <a:ext cx="4954491" cy="2013979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3200" b="0" noProof="0" dirty="0" smtClean="0"/>
              <a:t>Prepare the Environment</a:t>
            </a:r>
          </a:p>
        </p:txBody>
      </p:sp>
    </p:spTree>
    <p:extLst>
      <p:ext uri="{BB962C8B-B14F-4D97-AF65-F5344CB8AC3E}">
        <p14:creationId xmlns:p14="http://schemas.microsoft.com/office/powerpoint/2010/main" val="1762490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45260"/>
          </a:xfrm>
        </p:spPr>
        <p:txBody>
          <a:bodyPr/>
          <a:lstStyle/>
          <a:p>
            <a:r>
              <a:rPr lang="en-US" sz="2800" noProof="0" dirty="0" smtClean="0"/>
              <a:t>Exercises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55" name="Inhaltsplatzhalter 5"/>
          <p:cNvSpPr>
            <a:spLocks noGrp="1"/>
          </p:cNvSpPr>
          <p:nvPr>
            <p:ph idx="1"/>
          </p:nvPr>
        </p:nvSpPr>
        <p:spPr>
          <a:xfrm>
            <a:off x="444503" y="1341062"/>
            <a:ext cx="7933015" cy="2013979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3200" b="1" noProof="0" dirty="0" smtClean="0"/>
              <a:t>Exercise 8</a:t>
            </a:r>
            <a:r>
              <a:rPr lang="en-US" sz="3200" dirty="0" smtClean="0"/>
              <a:t> Transformations per partition</a:t>
            </a:r>
            <a:endParaRPr lang="en-US" sz="3200" b="0" noProof="0" dirty="0" smtClean="0"/>
          </a:p>
        </p:txBody>
      </p:sp>
    </p:spTree>
    <p:extLst>
      <p:ext uri="{BB962C8B-B14F-4D97-AF65-F5344CB8AC3E}">
        <p14:creationId xmlns:p14="http://schemas.microsoft.com/office/powerpoint/2010/main" val="3735887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942975" y="1941508"/>
            <a:ext cx="5265737" cy="615553"/>
          </a:xfrm>
        </p:spPr>
        <p:txBody>
          <a:bodyPr/>
          <a:lstStyle/>
          <a:p>
            <a:r>
              <a:rPr lang="en-US" noProof="0" dirty="0" smtClean="0"/>
              <a:t>4. Spark Archite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51858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park Runtime architect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8052" y="877137"/>
            <a:ext cx="8090511" cy="1968806"/>
          </a:xfrm>
        </p:spPr>
        <p:txBody>
          <a:bodyPr>
            <a:normAutofit/>
          </a:bodyPr>
          <a:lstStyle/>
          <a:p>
            <a:r>
              <a:rPr lang="en-US" sz="2000" dirty="0" smtClean="0"/>
              <a:t>Master/slave architecture</a:t>
            </a:r>
          </a:p>
          <a:p>
            <a:r>
              <a:rPr lang="en-US" sz="2000" dirty="0" smtClean="0"/>
              <a:t>Central coordinator driver (own java process)</a:t>
            </a:r>
          </a:p>
          <a:p>
            <a:r>
              <a:rPr lang="en-US" sz="2000" dirty="0" smtClean="0"/>
              <a:t>Daemons on workers called executor (own java process)</a:t>
            </a:r>
          </a:p>
          <a:p>
            <a:r>
              <a:rPr lang="en-US" sz="2000" dirty="0" smtClean="0"/>
              <a:t>Driver + executors =  Spark application</a:t>
            </a:r>
          </a:p>
          <a:p>
            <a:r>
              <a:rPr lang="en-US" sz="2000" dirty="0" smtClean="0"/>
              <a:t>Application is launched using a cluster manager</a:t>
            </a:r>
            <a:endParaRPr lang="en-US" sz="20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0585" y="1941816"/>
            <a:ext cx="7675448" cy="2862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785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dirty="0" smtClean="0"/>
              <a:t>Spark Standalone Cluster -- Daem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8052" y="877136"/>
            <a:ext cx="8090511" cy="2061273"/>
          </a:xfrm>
        </p:spPr>
        <p:txBody>
          <a:bodyPr>
            <a:normAutofit/>
          </a:bodyPr>
          <a:lstStyle/>
          <a:p>
            <a:r>
              <a:rPr lang="en-US" sz="2000" dirty="0" smtClean="0"/>
              <a:t>Spark Master</a:t>
            </a:r>
          </a:p>
          <a:p>
            <a:pPr lvl="1"/>
            <a:r>
              <a:rPr lang="en-US" sz="1800" dirty="0" smtClean="0"/>
              <a:t>One per cluster</a:t>
            </a:r>
          </a:p>
          <a:p>
            <a:pPr lvl="1"/>
            <a:r>
              <a:rPr lang="en-US" sz="1800" dirty="0" smtClean="0"/>
              <a:t>Manages applications, distributes tasks to Spark Workers</a:t>
            </a:r>
          </a:p>
          <a:p>
            <a:r>
              <a:rPr lang="en-US" sz="2000" dirty="0" smtClean="0"/>
              <a:t>Spark Worker</a:t>
            </a:r>
          </a:p>
          <a:p>
            <a:pPr lvl="1"/>
            <a:r>
              <a:rPr lang="en-US" sz="1800" dirty="0" smtClean="0"/>
              <a:t>One per worker node</a:t>
            </a:r>
          </a:p>
          <a:p>
            <a:pPr lvl="1"/>
            <a:r>
              <a:rPr lang="en-US" sz="1800" dirty="0" smtClean="0"/>
              <a:t>Starts monitors Executors for application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8158" y="2065106"/>
            <a:ext cx="7139050" cy="2662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969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unching a progra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264" y="904034"/>
            <a:ext cx="8546818" cy="3661242"/>
          </a:xfrm>
        </p:spPr>
        <p:txBody>
          <a:bodyPr>
            <a:noAutofit/>
          </a:bodyPr>
          <a:lstStyle/>
          <a:p>
            <a:r>
              <a:rPr lang="en-US" sz="1600" dirty="0" smtClean="0"/>
              <a:t>Single script </a:t>
            </a:r>
            <a:r>
              <a:rPr lang="en-US" sz="1600" b="1" dirty="0" smtClean="0"/>
              <a:t>spark-submit </a:t>
            </a:r>
            <a:r>
              <a:rPr lang="en-US" sz="1600" dirty="0" smtClean="0"/>
              <a:t>with options to connect to clusters and control resources</a:t>
            </a:r>
            <a:endParaRPr lang="en-US" sz="1600" b="1" dirty="0" smtClean="0"/>
          </a:p>
          <a:p>
            <a:pPr marL="514350" indent="-514350">
              <a:buFont typeface="+mj-lt"/>
              <a:buAutoNum type="arabicPeriod"/>
            </a:pPr>
            <a:r>
              <a:rPr lang="en-US" sz="1600" dirty="0" smtClean="0"/>
              <a:t>The user submits an application using </a:t>
            </a:r>
            <a:r>
              <a:rPr lang="en-US" sz="1600" b="1" dirty="0" smtClean="0"/>
              <a:t>spark-submit</a:t>
            </a:r>
            <a:r>
              <a:rPr lang="en-US" sz="1600" dirty="0" smtClean="0"/>
              <a:t>.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1600" b="1" dirty="0" smtClean="0"/>
              <a:t>spark-submit</a:t>
            </a:r>
            <a:r>
              <a:rPr lang="en-US" sz="1600" dirty="0" smtClean="0"/>
              <a:t> launches the driver program and invokes the main() method specified by the user.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1600" dirty="0" smtClean="0"/>
              <a:t>The </a:t>
            </a:r>
            <a:r>
              <a:rPr lang="en-US" sz="1600" b="1" dirty="0" smtClean="0"/>
              <a:t>driver program </a:t>
            </a:r>
            <a:r>
              <a:rPr lang="en-US" sz="1600" dirty="0" smtClean="0"/>
              <a:t>contacts the </a:t>
            </a:r>
            <a:r>
              <a:rPr lang="en-US" sz="1600" b="1" dirty="0" smtClean="0"/>
              <a:t>cluster manager </a:t>
            </a:r>
            <a:r>
              <a:rPr lang="en-US" sz="1600" dirty="0" smtClean="0"/>
              <a:t>to ask for resources to launch executors.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1600" dirty="0" smtClean="0"/>
              <a:t>The </a:t>
            </a:r>
            <a:r>
              <a:rPr lang="en-US" sz="1600" b="1" dirty="0" smtClean="0"/>
              <a:t>cluster manager </a:t>
            </a:r>
            <a:r>
              <a:rPr lang="en-US" sz="1600" dirty="0" smtClean="0"/>
              <a:t>launches executors on behalf of the driver program.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1600" dirty="0" smtClean="0"/>
              <a:t>The </a:t>
            </a:r>
            <a:r>
              <a:rPr lang="en-US" sz="1600" b="1" dirty="0" smtClean="0"/>
              <a:t>driver process </a:t>
            </a:r>
            <a:r>
              <a:rPr lang="en-US" sz="1600" dirty="0" smtClean="0"/>
              <a:t>runs through the user application. Based on the RDD actions and transformations in the program, the driver sends work to executors in the form of tasks.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1600" dirty="0" smtClean="0"/>
              <a:t>Tasks are run on executor processes to compute and save results.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1600" dirty="0" smtClean="0"/>
              <a:t>If the driver’s main() method exits or it calls </a:t>
            </a:r>
            <a:r>
              <a:rPr lang="en-US" sz="1600" b="1" dirty="0" err="1" smtClean="0"/>
              <a:t>SparkContext.stop</a:t>
            </a:r>
            <a:r>
              <a:rPr lang="en-US" sz="1600" b="1" dirty="0" smtClean="0"/>
              <a:t>()</a:t>
            </a:r>
            <a:r>
              <a:rPr lang="en-US" sz="1600" dirty="0" smtClean="0"/>
              <a:t>, it will terminate the executors and release resources from the cluster manager.</a:t>
            </a:r>
            <a:endParaRPr lang="en-US" sz="1600" b="1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5413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sz="2400" dirty="0" smtClean="0"/>
              <a:t>Spark Standalone Cluster Workflow (1/5)</a:t>
            </a:r>
            <a:endParaRPr lang="en-US" sz="24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5906" y="1026311"/>
            <a:ext cx="6442001" cy="3733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55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sz="2400" dirty="0" smtClean="0"/>
              <a:t>Spark Standalone Cluster Workflow (2/5)</a:t>
            </a:r>
            <a:endParaRPr lang="en-US" sz="24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3458" y="842481"/>
            <a:ext cx="6661612" cy="3760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1277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33525"/>
          </a:xfrm>
        </p:spPr>
        <p:txBody>
          <a:bodyPr/>
          <a:lstStyle/>
          <a:p>
            <a:r>
              <a:rPr lang="en-US" sz="2400" dirty="0" smtClean="0"/>
              <a:t>Spark Standalone Cluster Workflow (3/5)</a:t>
            </a:r>
            <a:endParaRPr lang="en-US" sz="24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0697" y="904127"/>
            <a:ext cx="6669892" cy="3785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64699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33525"/>
          </a:xfrm>
        </p:spPr>
        <p:txBody>
          <a:bodyPr/>
          <a:lstStyle/>
          <a:p>
            <a:r>
              <a:rPr lang="en-US" sz="2400" dirty="0" smtClean="0"/>
              <a:t>Spark Standalone Cluster Workflow (4/5)</a:t>
            </a:r>
            <a:endParaRPr lang="en-US" sz="24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8321" y="911519"/>
            <a:ext cx="6406114" cy="3732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9082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33525"/>
          </a:xfrm>
        </p:spPr>
        <p:txBody>
          <a:bodyPr/>
          <a:lstStyle/>
          <a:p>
            <a:r>
              <a:rPr lang="en-US" sz="2400" dirty="0" smtClean="0"/>
              <a:t>Spark Standalone Cluster Workflow (5/5)</a:t>
            </a:r>
            <a:endParaRPr lang="en-US" sz="24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4464" y="842481"/>
            <a:ext cx="6712675" cy="3873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92392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18008"/>
          </a:xfrm>
        </p:spPr>
        <p:txBody>
          <a:bodyPr/>
          <a:lstStyle/>
          <a:p>
            <a:r>
              <a:rPr lang="en-US" sz="2800" noProof="0" dirty="0" smtClean="0"/>
              <a:t>What is Apache Spark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55" name="Inhaltsplatzhalter 5"/>
          <p:cNvSpPr>
            <a:spLocks noGrp="1"/>
          </p:cNvSpPr>
          <p:nvPr>
            <p:ph idx="1"/>
          </p:nvPr>
        </p:nvSpPr>
        <p:spPr>
          <a:xfrm>
            <a:off x="438150" y="910756"/>
            <a:ext cx="8531038" cy="3721756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altLang="de-DE" sz="3200" noProof="0" dirty="0" smtClean="0"/>
              <a:t>Apache Spark is a distributed computing platform designed to be </a:t>
            </a:r>
            <a:r>
              <a:rPr lang="en-US" altLang="de-DE" sz="3200" b="1" noProof="0" dirty="0" smtClean="0"/>
              <a:t>fast</a:t>
            </a:r>
            <a:r>
              <a:rPr lang="en-US" altLang="de-DE" sz="3200" noProof="0" dirty="0" smtClean="0"/>
              <a:t> and </a:t>
            </a:r>
            <a:r>
              <a:rPr lang="en-US" altLang="de-DE" sz="3200" b="1" noProof="0" dirty="0" smtClean="0"/>
              <a:t>general purpose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altLang="de-DE" sz="3200" noProof="0" dirty="0" smtClean="0"/>
              <a:t>Spark extends the </a:t>
            </a:r>
            <a:r>
              <a:rPr lang="en-US" altLang="de-DE" sz="3200" b="1" noProof="0" dirty="0" smtClean="0"/>
              <a:t>map-reduce </a:t>
            </a:r>
            <a:r>
              <a:rPr lang="en-US" altLang="de-DE" sz="3200" noProof="0" dirty="0" smtClean="0"/>
              <a:t>model to efficiently support more types of </a:t>
            </a:r>
            <a:r>
              <a:rPr lang="en-US" altLang="de-DE" sz="3200" b="1" noProof="0" dirty="0" smtClean="0"/>
              <a:t>in-memory</a:t>
            </a:r>
            <a:r>
              <a:rPr lang="en-US" altLang="de-DE" sz="3200" noProof="0" dirty="0" smtClean="0"/>
              <a:t> computations, including </a:t>
            </a:r>
            <a:r>
              <a:rPr lang="en-US" altLang="de-DE" sz="3200" b="1" noProof="0" dirty="0" smtClean="0"/>
              <a:t>interactive queries</a:t>
            </a:r>
            <a:r>
              <a:rPr lang="en-US" altLang="de-DE" sz="3200" noProof="0" dirty="0" smtClean="0"/>
              <a:t> and </a:t>
            </a:r>
            <a:r>
              <a:rPr lang="en-US" altLang="de-DE" sz="3200" b="1" noProof="0" dirty="0" smtClean="0"/>
              <a:t>stream processing</a:t>
            </a:r>
            <a:endParaRPr lang="en-US" altLang="de-DE" sz="1800" noProof="0" dirty="0"/>
          </a:p>
        </p:txBody>
      </p:sp>
      <p:sp>
        <p:nvSpPr>
          <p:cNvPr id="6" name="Rounded Rectangle 5"/>
          <p:cNvSpPr/>
          <p:nvPr/>
        </p:nvSpPr>
        <p:spPr>
          <a:xfrm>
            <a:off x="7343088" y="3871502"/>
            <a:ext cx="1703072" cy="882042"/>
          </a:xfrm>
          <a:prstGeom prst="roundRect">
            <a:avLst/>
          </a:prstGeom>
          <a:blipFill dpi="0" rotWithShape="1">
            <a:blip r:embed="rId3"/>
            <a:srcRect/>
            <a:tile tx="0" ty="0" sx="100000" sy="100000" flip="none" algn="ctr"/>
          </a:blip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0785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dirty="0" smtClean="0"/>
              <a:t>Spark on local mod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24205"/>
            <a:ext cx="8083844" cy="1541593"/>
          </a:xfrm>
        </p:spPr>
        <p:txBody>
          <a:bodyPr>
            <a:normAutofit/>
          </a:bodyPr>
          <a:lstStyle/>
          <a:p>
            <a:r>
              <a:rPr lang="en-US" sz="2000" dirty="0" smtClean="0"/>
              <a:t>The </a:t>
            </a:r>
            <a:r>
              <a:rPr lang="en-US" sz="2000" b="1" dirty="0" smtClean="0"/>
              <a:t>Spark Context</a:t>
            </a:r>
            <a:r>
              <a:rPr lang="en-US" sz="2000" dirty="0" smtClean="0"/>
              <a:t>, the </a:t>
            </a:r>
            <a:r>
              <a:rPr lang="en-US" sz="2000" b="1" dirty="0" smtClean="0"/>
              <a:t>Spark Master </a:t>
            </a:r>
            <a:r>
              <a:rPr lang="en-US" sz="2000" dirty="0" smtClean="0"/>
              <a:t>(cluster manager) and the </a:t>
            </a:r>
            <a:r>
              <a:rPr lang="en-US" sz="2000" b="1" dirty="0" smtClean="0"/>
              <a:t>Worker node </a:t>
            </a:r>
            <a:r>
              <a:rPr lang="en-US" sz="2000" dirty="0" smtClean="0"/>
              <a:t>are </a:t>
            </a:r>
            <a:r>
              <a:rPr lang="en-US" sz="2000" b="1" dirty="0" smtClean="0"/>
              <a:t>threads </a:t>
            </a:r>
            <a:r>
              <a:rPr lang="en-US" sz="2000" dirty="0" smtClean="0"/>
              <a:t>in a single JVM</a:t>
            </a:r>
          </a:p>
          <a:p>
            <a:r>
              <a:rPr lang="en-US" sz="2000" dirty="0" smtClean="0"/>
              <a:t>The number of workers (threads) are set at spark-shell invocation</a:t>
            </a:r>
          </a:p>
          <a:p>
            <a:pPr lvl="1"/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park-shell –master local[#threads]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7946" y="2465798"/>
            <a:ext cx="4273258" cy="2214684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3482939" y="2301411"/>
            <a:ext cx="4787758" cy="2379071"/>
          </a:xfrm>
          <a:prstGeom prst="rect">
            <a:avLst/>
          </a:prstGeom>
          <a:noFill/>
          <a:ln w="349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 bwMode="gray">
          <a:xfrm>
            <a:off x="2719853" y="2465797"/>
            <a:ext cx="650072" cy="32877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9388" indent="-179388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 smtClean="0"/>
              <a:t>JVM</a:t>
            </a:r>
            <a:endParaRPr lang="en-US" sz="18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6034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dirty="0" smtClean="0"/>
              <a:t>Spark with other cluster manage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9320" y="924205"/>
            <a:ext cx="3532392" cy="3729742"/>
          </a:xfrm>
        </p:spPr>
        <p:txBody>
          <a:bodyPr>
            <a:normAutofit/>
          </a:bodyPr>
          <a:lstStyle/>
          <a:p>
            <a:r>
              <a:rPr lang="en-US" sz="2000" dirty="0" smtClean="0"/>
              <a:t>Spark can run the Executors and the Master with other cluster managers (YARN, </a:t>
            </a:r>
            <a:r>
              <a:rPr lang="en-US" sz="2000" dirty="0" err="1" smtClean="0"/>
              <a:t>Mesos</a:t>
            </a:r>
            <a:r>
              <a:rPr lang="en-US" sz="2000" dirty="0" smtClean="0"/>
              <a:t>)</a:t>
            </a:r>
          </a:p>
          <a:p>
            <a:r>
              <a:rPr lang="en-US" sz="2000" dirty="0" smtClean="0">
                <a:cs typeface="Courier New" panose="02070309020205020404" pitchFamily="49" charset="0"/>
              </a:rPr>
              <a:t>Executors and the Master are run as tasks managed by the cluster manager</a:t>
            </a:r>
            <a:endParaRPr lang="en-US" sz="1800" dirty="0">
              <a:cs typeface="Courier New" panose="02070309020205020404" pitchFamily="49" charset="0"/>
            </a:endParaRPr>
          </a:p>
          <a:p>
            <a:r>
              <a:rPr lang="en-US" sz="2000" dirty="0" smtClean="0">
                <a:cs typeface="Courier New" panose="02070309020205020404" pitchFamily="49" charset="0"/>
              </a:rPr>
              <a:t>Cluster manager provides scalability, fault tolerance, multi-jobs</a:t>
            </a:r>
            <a:endParaRPr lang="en-US" sz="2400" dirty="0" smtClean="0">
              <a:cs typeface="Courier New" panose="02070309020205020404" pitchFamily="49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3307" y="1274240"/>
            <a:ext cx="5510693" cy="2814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482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33525"/>
          </a:xfrm>
        </p:spPr>
        <p:txBody>
          <a:bodyPr/>
          <a:lstStyle/>
          <a:p>
            <a:r>
              <a:rPr lang="en-US" sz="2400" dirty="0" smtClean="0"/>
              <a:t>Spark modes with other cluster manager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24206"/>
            <a:ext cx="8083844" cy="1202546"/>
          </a:xfrm>
        </p:spPr>
        <p:txBody>
          <a:bodyPr>
            <a:normAutofit/>
          </a:bodyPr>
          <a:lstStyle/>
          <a:p>
            <a:r>
              <a:rPr lang="en-US" sz="2000" dirty="0" smtClean="0"/>
              <a:t>Two modes exist, depending where the driver is run</a:t>
            </a:r>
          </a:p>
          <a:p>
            <a:r>
              <a:rPr lang="en-US" sz="2000" b="1" dirty="0" smtClean="0">
                <a:cs typeface="Courier New" panose="02070309020205020404" pitchFamily="49" charset="0"/>
              </a:rPr>
              <a:t>Client mode</a:t>
            </a:r>
            <a:r>
              <a:rPr lang="en-US" sz="2000" dirty="0" smtClean="0">
                <a:cs typeface="Courier New" panose="02070309020205020404" pitchFamily="49" charset="0"/>
              </a:rPr>
              <a:t>: the driver is outside the cluster (spark-shell)</a:t>
            </a:r>
          </a:p>
          <a:p>
            <a:r>
              <a:rPr lang="en-US" sz="2000" b="1" dirty="0" smtClean="0">
                <a:cs typeface="Courier New" panose="02070309020205020404" pitchFamily="49" charset="0"/>
              </a:rPr>
              <a:t>Cluster mode</a:t>
            </a:r>
            <a:r>
              <a:rPr lang="en-US" sz="2000" dirty="0" smtClean="0">
                <a:cs typeface="Courier New" panose="02070309020205020404" pitchFamily="49" charset="0"/>
              </a:rPr>
              <a:t>: the driver is another task in the cluster (no spark-shell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498" y="2054799"/>
            <a:ext cx="4414506" cy="164656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7531" y="2618325"/>
            <a:ext cx="5303727" cy="2166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840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riv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24205"/>
            <a:ext cx="4699793" cy="3362325"/>
          </a:xfrm>
        </p:spPr>
        <p:txBody>
          <a:bodyPr>
            <a:normAutofit/>
          </a:bodyPr>
          <a:lstStyle/>
          <a:p>
            <a:r>
              <a:rPr lang="en-US" sz="2000" dirty="0" smtClean="0"/>
              <a:t>Is the process where the </a:t>
            </a:r>
            <a:r>
              <a:rPr lang="en-US" sz="2000" b="1" dirty="0" smtClean="0"/>
              <a:t>main() </a:t>
            </a:r>
            <a:r>
              <a:rPr lang="en-US" sz="2000" dirty="0" smtClean="0"/>
              <a:t>method of your program runs</a:t>
            </a:r>
          </a:p>
          <a:p>
            <a:r>
              <a:rPr lang="en-US" sz="2000" dirty="0" smtClean="0"/>
              <a:t>It is the process running the </a:t>
            </a:r>
            <a:r>
              <a:rPr lang="en-US" sz="2000" b="1" dirty="0" smtClean="0"/>
              <a:t>user code </a:t>
            </a:r>
            <a:r>
              <a:rPr lang="en-US" sz="2000" dirty="0" smtClean="0"/>
              <a:t>that creates </a:t>
            </a:r>
            <a:r>
              <a:rPr lang="en-US" sz="2000" b="1" dirty="0" smtClean="0"/>
              <a:t>a </a:t>
            </a:r>
            <a:r>
              <a:rPr lang="en-US" sz="2000" b="1" dirty="0" err="1" smtClean="0"/>
              <a:t>SparkContext</a:t>
            </a:r>
            <a:r>
              <a:rPr lang="en-US" sz="2000" dirty="0" smtClean="0"/>
              <a:t>, </a:t>
            </a:r>
            <a:r>
              <a:rPr lang="en-US" sz="2000" b="1" dirty="0" smtClean="0"/>
              <a:t>creates RDDs</a:t>
            </a:r>
            <a:r>
              <a:rPr lang="en-US" sz="2000" dirty="0" smtClean="0"/>
              <a:t>, and indicates transformations and action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7459" y="924205"/>
            <a:ext cx="3653753" cy="3868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5282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dirty="0" smtClean="0"/>
              <a:t>The Driver – duti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462" y="847165"/>
            <a:ext cx="4647171" cy="3879476"/>
          </a:xfrm>
        </p:spPr>
        <p:txBody>
          <a:bodyPr>
            <a:normAutofit fontScale="92500" lnSpcReduction="20000"/>
          </a:bodyPr>
          <a:lstStyle/>
          <a:p>
            <a:pPr marL="180975" indent="-180975">
              <a:buFont typeface="Arial" panose="020B0604020202020204" pitchFamily="34" charset="0"/>
              <a:buChar char="•"/>
            </a:pPr>
            <a:r>
              <a:rPr lang="en-GB" sz="1700" b="1" dirty="0" smtClean="0"/>
              <a:t>Converts </a:t>
            </a:r>
            <a:r>
              <a:rPr lang="en-GB" sz="1700" b="1" dirty="0"/>
              <a:t>a user program into tasks</a:t>
            </a:r>
            <a:r>
              <a:rPr lang="en-GB" sz="1600" dirty="0"/>
              <a:t>:</a:t>
            </a:r>
          </a:p>
          <a:p>
            <a:pPr marL="268288" indent="-101600">
              <a:buFont typeface="Arial" panose="020B0604020202020204" pitchFamily="34" charset="0"/>
              <a:buChar char="•"/>
            </a:pPr>
            <a:r>
              <a:rPr lang="en-US" sz="1600" dirty="0" smtClean="0"/>
              <a:t>Creates a logical </a:t>
            </a:r>
            <a:r>
              <a:rPr lang="en-US" sz="1600" b="1" dirty="0" smtClean="0"/>
              <a:t>directed acyclic graph (DAG) </a:t>
            </a:r>
            <a:r>
              <a:rPr lang="en-US" sz="1600" dirty="0" smtClean="0"/>
              <a:t>of operations.</a:t>
            </a:r>
          </a:p>
          <a:p>
            <a:pPr marL="268288" indent="-101600">
              <a:buFont typeface="Arial" panose="020B0604020202020204" pitchFamily="34" charset="0"/>
              <a:buChar char="•"/>
            </a:pPr>
            <a:r>
              <a:rPr lang="en-US" sz="1600" dirty="0" smtClean="0"/>
              <a:t>Converts DAG into a </a:t>
            </a:r>
            <a:r>
              <a:rPr lang="en-US" sz="1600" b="1" dirty="0" smtClean="0"/>
              <a:t>physical execution plan</a:t>
            </a:r>
          </a:p>
          <a:p>
            <a:pPr marL="268288" indent="-101600">
              <a:buFont typeface="Arial" panose="020B0604020202020204" pitchFamily="34" charset="0"/>
              <a:buChar char="•"/>
            </a:pPr>
            <a:r>
              <a:rPr lang="en-US" sz="1600" dirty="0" smtClean="0"/>
              <a:t>Creates a series of </a:t>
            </a:r>
            <a:r>
              <a:rPr lang="en-US" sz="1600" b="1" dirty="0" smtClean="0"/>
              <a:t>stages</a:t>
            </a:r>
            <a:r>
              <a:rPr lang="en-US" sz="1600" dirty="0" smtClean="0"/>
              <a:t> based on DAG optimizing transformations and merging them</a:t>
            </a:r>
          </a:p>
          <a:p>
            <a:pPr marL="268288" indent="-101600">
              <a:buFont typeface="Arial" panose="020B0604020202020204" pitchFamily="34" charset="0"/>
              <a:buChar char="•"/>
            </a:pPr>
            <a:r>
              <a:rPr lang="en-US" sz="1600" dirty="0" smtClean="0"/>
              <a:t>Each stage consists of multiple </a:t>
            </a:r>
            <a:r>
              <a:rPr lang="en-US" sz="1600" b="1" dirty="0" smtClean="0"/>
              <a:t>tasks</a:t>
            </a:r>
            <a:r>
              <a:rPr lang="en-US" sz="1600" dirty="0" smtClean="0"/>
              <a:t> (smallest unit of work). They are bundled up and sent to the cluster</a:t>
            </a:r>
          </a:p>
          <a:p>
            <a:pPr marL="101600" indent="-101600">
              <a:buFont typeface="Arial" panose="020B0604020202020204" pitchFamily="34" charset="0"/>
              <a:buChar char="•"/>
            </a:pPr>
            <a:r>
              <a:rPr lang="en-US" sz="1700" b="1" dirty="0" smtClean="0"/>
              <a:t>Schedules tasks on executors</a:t>
            </a:r>
          </a:p>
          <a:p>
            <a:pPr marL="268288" indent="-101600">
              <a:buFont typeface="Arial" panose="020B0604020202020204" pitchFamily="34" charset="0"/>
              <a:buChar char="•"/>
            </a:pPr>
            <a:r>
              <a:rPr lang="en-US" sz="1600" dirty="0" smtClean="0"/>
              <a:t>Uses </a:t>
            </a:r>
            <a:r>
              <a:rPr lang="en-US" sz="1600" b="1" dirty="0" smtClean="0"/>
              <a:t>physical execution </a:t>
            </a:r>
            <a:r>
              <a:rPr lang="en-US" sz="1600" dirty="0" smtClean="0"/>
              <a:t>plan</a:t>
            </a:r>
          </a:p>
          <a:p>
            <a:pPr marL="268288" indent="-101600">
              <a:buFont typeface="Arial" panose="020B0604020202020204" pitchFamily="34" charset="0"/>
              <a:buChar char="•"/>
            </a:pPr>
            <a:r>
              <a:rPr lang="en-US" sz="1600" dirty="0" smtClean="0"/>
              <a:t>At start executors register themselves to the driver. Each executor can run task and store RDD slices</a:t>
            </a:r>
          </a:p>
          <a:p>
            <a:pPr marL="268288" indent="-101600">
              <a:buFont typeface="Arial" panose="020B0604020202020204" pitchFamily="34" charset="0"/>
              <a:buChar char="•"/>
            </a:pPr>
            <a:r>
              <a:rPr lang="en-US" sz="1600" dirty="0" smtClean="0"/>
              <a:t>Based on data placement the driver schedule each task to a worker</a:t>
            </a:r>
          </a:p>
          <a:p>
            <a:pPr marL="268288" indent="-101600">
              <a:buFont typeface="Arial" panose="020B0604020202020204" pitchFamily="34" charset="0"/>
              <a:buChar char="•"/>
            </a:pPr>
            <a:r>
              <a:rPr lang="en-US" sz="1600" dirty="0" smtClean="0"/>
              <a:t>Driver tracks the location of cached data</a:t>
            </a:r>
          </a:p>
          <a:p>
            <a:endParaRPr lang="en-GB" dirty="0"/>
          </a:p>
          <a:p>
            <a:pPr lvl="2"/>
            <a:endParaRPr lang="en-US" sz="16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7936" y="847164"/>
            <a:ext cx="3260683" cy="39467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84407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cuto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263" y="930929"/>
            <a:ext cx="8513201" cy="3362325"/>
          </a:xfrm>
        </p:spPr>
        <p:txBody>
          <a:bodyPr>
            <a:normAutofit/>
          </a:bodyPr>
          <a:lstStyle/>
          <a:p>
            <a:r>
              <a:rPr lang="en-US" sz="2000" dirty="0" smtClean="0"/>
              <a:t>Java processes responsible for running individual tasks in a Spark job</a:t>
            </a:r>
          </a:p>
          <a:p>
            <a:r>
              <a:rPr lang="en-US" sz="2000" dirty="0" smtClean="0"/>
              <a:t>Two roles</a:t>
            </a:r>
          </a:p>
          <a:p>
            <a:pPr lvl="1"/>
            <a:r>
              <a:rPr lang="en-US" sz="1800" dirty="0" smtClean="0"/>
              <a:t>Run the tasks and return results to the driver</a:t>
            </a:r>
          </a:p>
          <a:p>
            <a:pPr lvl="1"/>
            <a:r>
              <a:rPr lang="en-US" sz="1800" dirty="0" smtClean="0"/>
              <a:t>Provide in-memory storage for RDDs through a service called </a:t>
            </a:r>
            <a:r>
              <a:rPr lang="en-US" sz="1800" b="1" dirty="0" smtClean="0"/>
              <a:t>Block Manager</a:t>
            </a:r>
            <a:endParaRPr lang="en-US" sz="1800" b="1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9180" y="2391633"/>
            <a:ext cx="4674074" cy="242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663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Execution Components – Example (1/5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9577" y="843523"/>
            <a:ext cx="8362907" cy="97500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800" dirty="0" smtClean="0"/>
              <a:t>Average work length by letter</a:t>
            </a:r>
            <a:endParaRPr lang="en-US" sz="1800" dirty="0"/>
          </a:p>
          <a:p>
            <a:pPr marL="0" indent="0">
              <a:buNone/>
            </a:pPr>
            <a:endParaRPr lang="en-US" sz="1800" dirty="0" smtClean="0"/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vg_length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textFil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ileNam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331" y="2358828"/>
            <a:ext cx="2560417" cy="2293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2732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Execution Components – Example (2/5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9577" y="843523"/>
            <a:ext cx="8362907" cy="97500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800" dirty="0" smtClean="0"/>
              <a:t>Average work length by letter</a:t>
            </a:r>
            <a:endParaRPr lang="en-US" sz="1800" dirty="0"/>
          </a:p>
          <a:p>
            <a:pPr marL="0" indent="0">
              <a:buNone/>
            </a:pPr>
            <a:endParaRPr lang="en-US" sz="1800" dirty="0" smtClean="0"/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vg_length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textFil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ileName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latMap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line =&gt;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e.split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“ “)</a:t>
            </a:r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933" y="2476648"/>
            <a:ext cx="4007885" cy="2055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4662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Execution Components – Example (3/5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9577" y="843523"/>
            <a:ext cx="8362907" cy="1385969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800" dirty="0" smtClean="0"/>
              <a:t>Average work length by letter</a:t>
            </a:r>
            <a:endParaRPr lang="en-US" sz="1800" dirty="0"/>
          </a:p>
          <a:p>
            <a:pPr marL="0" indent="0">
              <a:buNone/>
            </a:pPr>
            <a:endParaRPr lang="en-US" sz="1800" dirty="0" smtClean="0"/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vg_length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textFil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ileName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latMap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line =&gt;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e.split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“ “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$ | .map( word =&gt; (word[0],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word.length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64" y="2342130"/>
            <a:ext cx="5548527" cy="2217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297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Execution Components – Example (4/5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9577" y="843523"/>
            <a:ext cx="8362907" cy="1879129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800" dirty="0" smtClean="0"/>
              <a:t>Average work length by letter</a:t>
            </a:r>
            <a:endParaRPr lang="en-US" sz="1800" dirty="0"/>
          </a:p>
          <a:p>
            <a:pPr marL="0" indent="0">
              <a:buNone/>
            </a:pPr>
            <a:endParaRPr lang="en-US" sz="1800" dirty="0" smtClean="0"/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vg_length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textFil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ileName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latMap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line =&gt;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e.split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“ “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$ | .map( word =&gt; (word[0],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word.length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$ | .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roupByKey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 </a:t>
            </a:r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577" y="2860210"/>
            <a:ext cx="6102956" cy="1780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13137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18008"/>
          </a:xfrm>
        </p:spPr>
        <p:txBody>
          <a:bodyPr/>
          <a:lstStyle/>
          <a:p>
            <a:r>
              <a:rPr lang="en-US" sz="2800" noProof="0" dirty="0" smtClean="0"/>
              <a:t>What is Apache Spark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park</a:t>
            </a:r>
            <a:endParaRPr lang="en-US" noProof="0" dirty="0"/>
          </a:p>
        </p:txBody>
      </p:sp>
      <p:sp>
        <p:nvSpPr>
          <p:cNvPr id="55" name="Inhaltsplatzhalter 5"/>
          <p:cNvSpPr>
            <a:spLocks noGrp="1"/>
          </p:cNvSpPr>
          <p:nvPr>
            <p:ph idx="1"/>
          </p:nvPr>
        </p:nvSpPr>
        <p:spPr>
          <a:xfrm>
            <a:off x="438150" y="910756"/>
            <a:ext cx="8598274" cy="3721756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altLang="de-DE" sz="3200" noProof="0" dirty="0" smtClean="0"/>
              <a:t>From the </a:t>
            </a:r>
            <a:r>
              <a:rPr lang="en-US" altLang="de-DE" sz="3200" b="1" noProof="0" dirty="0" smtClean="0"/>
              <a:t>general purpose</a:t>
            </a:r>
            <a:r>
              <a:rPr lang="en-US" altLang="de-DE" sz="3200" noProof="0" dirty="0" smtClean="0"/>
              <a:t> Spark is designed to cover a wide range of workloads that previously required separate distributed systems: 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sz="3000" noProof="0" dirty="0" smtClean="0"/>
              <a:t>batch applications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sz="3000" noProof="0" dirty="0" smtClean="0"/>
              <a:t>iterative algorithms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sz="3000" noProof="0" dirty="0" smtClean="0"/>
              <a:t>streaming</a:t>
            </a:r>
            <a:endParaRPr lang="en-US" altLang="de-DE" sz="1600" noProof="0" dirty="0"/>
          </a:p>
        </p:txBody>
      </p:sp>
      <p:sp>
        <p:nvSpPr>
          <p:cNvPr id="6" name="Rounded Rectangle 5"/>
          <p:cNvSpPr/>
          <p:nvPr/>
        </p:nvSpPr>
        <p:spPr>
          <a:xfrm>
            <a:off x="7356536" y="3831158"/>
            <a:ext cx="1703072" cy="882042"/>
          </a:xfrm>
          <a:prstGeom prst="roundRect">
            <a:avLst/>
          </a:prstGeom>
          <a:blipFill dpi="0" rotWithShape="1">
            <a:blip r:embed="rId3"/>
            <a:srcRect/>
            <a:tile tx="0" ty="0" sx="100000" sy="100000" flip="none" algn="ctr"/>
          </a:blip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6503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Execution Components – Example (5/5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9577" y="843524"/>
            <a:ext cx="8362907" cy="159145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800" dirty="0" smtClean="0"/>
              <a:t>Average work length by letter</a:t>
            </a:r>
            <a:endParaRPr lang="en-US" sz="1800" dirty="0"/>
          </a:p>
          <a:p>
            <a:pPr marL="0" indent="0">
              <a:buNone/>
            </a:pPr>
            <a:endParaRPr lang="en-US" sz="1800" dirty="0" smtClean="0"/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vg_length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textFil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ileName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latMap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line =&gt;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e.split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“ “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$ | .map( word =&gt; (word[0],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word.length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$ | .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roupByKey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$ | .map((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key,values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=&gt; sum(values)/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ues.length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4" y="2633814"/>
            <a:ext cx="7643259" cy="1859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2815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36540"/>
          </a:xfrm>
        </p:spPr>
        <p:txBody>
          <a:bodyPr/>
          <a:lstStyle/>
          <a:p>
            <a:r>
              <a:rPr lang="en-US" sz="2500" dirty="0" smtClean="0"/>
              <a:t>Components of Execution (1/4)</a:t>
            </a:r>
            <a:endParaRPr lang="en-US" sz="25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67335"/>
            <a:ext cx="8243888" cy="3614177"/>
          </a:xfrm>
        </p:spPr>
        <p:txBody>
          <a:bodyPr>
            <a:noAutofit/>
          </a:bodyPr>
          <a:lstStyle/>
          <a:p>
            <a:r>
              <a:rPr lang="en-US" sz="2000" dirty="0" smtClean="0"/>
              <a:t>At this time there are no actions. Only the DAG has been created. </a:t>
            </a:r>
          </a:p>
          <a:p>
            <a:r>
              <a:rPr lang="en-US" sz="2000" dirty="0" smtClean="0"/>
              <a:t>To display the lineage of the RDDs we can use </a:t>
            </a:r>
            <a:r>
              <a:rPr lang="en-US" sz="2000" b="1" dirty="0" err="1" smtClean="0"/>
              <a:t>toDebugString</a:t>
            </a:r>
            <a:endParaRPr lang="en-US" sz="2000" b="1" dirty="0" smtClean="0"/>
          </a:p>
          <a:p>
            <a:r>
              <a:rPr lang="en-US" sz="2000" b="1" dirty="0" smtClean="0"/>
              <a:t>Stages </a:t>
            </a:r>
            <a:r>
              <a:rPr lang="en-US" sz="2000" dirty="0" smtClean="0"/>
              <a:t>and </a:t>
            </a:r>
            <a:r>
              <a:rPr lang="en-US" sz="2000" b="1" dirty="0" smtClean="0"/>
              <a:t>Tasks</a:t>
            </a:r>
            <a:r>
              <a:rPr lang="en-US" sz="2000" dirty="0" smtClean="0"/>
              <a:t> are identified</a:t>
            </a:r>
          </a:p>
          <a:p>
            <a:r>
              <a:rPr lang="en-US" sz="2000" b="1" dirty="0" smtClean="0"/>
              <a:t>Stages: </a:t>
            </a:r>
            <a:r>
              <a:rPr lang="en-US" sz="2000" dirty="0" smtClean="0"/>
              <a:t> group of operations that can be run on the same partition</a:t>
            </a:r>
          </a:p>
          <a:p>
            <a:r>
              <a:rPr lang="en-US" sz="2000" b="1" dirty="0" smtClean="0"/>
              <a:t>Tasks: </a:t>
            </a:r>
            <a:r>
              <a:rPr lang="en-US" sz="2000" dirty="0" smtClean="0"/>
              <a:t>parallel transformations inside a </a:t>
            </a:r>
            <a:r>
              <a:rPr lang="en-US" sz="2000" b="1" dirty="0" smtClean="0"/>
              <a:t>stage</a:t>
            </a:r>
            <a:endParaRPr lang="en-US" sz="2000" dirty="0" smtClean="0"/>
          </a:p>
          <a:p>
            <a:r>
              <a:rPr lang="en-US" sz="2000" dirty="0" smtClean="0"/>
              <a:t>To </a:t>
            </a:r>
            <a:r>
              <a:rPr lang="en-US" sz="2000" b="1" dirty="0" smtClean="0"/>
              <a:t>improve performance </a:t>
            </a:r>
            <a:r>
              <a:rPr lang="en-US" sz="2000" dirty="0" smtClean="0"/>
              <a:t>should be aware of the </a:t>
            </a:r>
            <a:r>
              <a:rPr lang="en-US" sz="2000" b="1" dirty="0" smtClean="0"/>
              <a:t>stages</a:t>
            </a:r>
            <a:endParaRPr lang="en-US" sz="2000" dirty="0" smtClean="0"/>
          </a:p>
          <a:p>
            <a:endParaRPr lang="en-US" sz="18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3468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onents of </a:t>
            </a:r>
            <a:r>
              <a:rPr lang="en-US" dirty="0" smtClean="0"/>
              <a:t>Execution (2/4) – Stage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9577" y="843524"/>
            <a:ext cx="8362907" cy="1252404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vg_length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textFil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ileName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latMap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line =&gt;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e.split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“ “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$ | .map( word =&gt; (word[0],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word.length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$ | .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roupByKey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$ | .map((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key,values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=&gt; sum(values)/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ues.length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vg_length.count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 </a:t>
            </a:r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997" y="2208467"/>
            <a:ext cx="7921375" cy="2487186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534256" y="843524"/>
            <a:ext cx="7726166" cy="625680"/>
          </a:xfrm>
          <a:prstGeom prst="roundRect">
            <a:avLst/>
          </a:prstGeom>
          <a:solidFill>
            <a:srgbClr val="FFFF00">
              <a:alpha val="23000"/>
            </a:srgbClr>
          </a:solidFill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534256" y="1479853"/>
            <a:ext cx="7726166" cy="461963"/>
          </a:xfrm>
          <a:prstGeom prst="roundRect">
            <a:avLst/>
          </a:prstGeom>
          <a:solidFill>
            <a:schemeClr val="tx1">
              <a:alpha val="23000"/>
            </a:schemeClr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2064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sz="2500" dirty="0"/>
              <a:t>Components of Execution </a:t>
            </a:r>
            <a:r>
              <a:rPr lang="en-US" sz="2500" dirty="0" smtClean="0"/>
              <a:t>(3/4</a:t>
            </a:r>
            <a:r>
              <a:rPr lang="en-US" sz="2500" dirty="0"/>
              <a:t>) – </a:t>
            </a:r>
            <a:r>
              <a:rPr lang="en-US" sz="2500" dirty="0" smtClean="0"/>
              <a:t>Scheduler</a:t>
            </a:r>
            <a:endParaRPr lang="en-US" sz="25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47870" y="877140"/>
            <a:ext cx="8595437" cy="3869672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 smtClean="0"/>
              <a:t>The </a:t>
            </a:r>
            <a:r>
              <a:rPr lang="en-GB" sz="2400" b="1" dirty="0" smtClean="0"/>
              <a:t>Scheduler</a:t>
            </a:r>
            <a:r>
              <a:rPr lang="en-GB" sz="2400" dirty="0" smtClean="0"/>
              <a:t> </a:t>
            </a:r>
            <a:r>
              <a:rPr lang="en-GB" sz="2400" dirty="0"/>
              <a:t>performs </a:t>
            </a:r>
            <a:r>
              <a:rPr lang="en-GB" sz="2400" i="1" dirty="0"/>
              <a:t>pipelining</a:t>
            </a:r>
            <a:r>
              <a:rPr lang="en-GB" sz="2400" dirty="0"/>
              <a:t>, or </a:t>
            </a:r>
            <a:r>
              <a:rPr lang="en-GB" sz="2400" dirty="0" smtClean="0"/>
              <a:t>the collapsing </a:t>
            </a:r>
            <a:r>
              <a:rPr lang="en-GB" sz="2400" dirty="0"/>
              <a:t>of </a:t>
            </a:r>
            <a:r>
              <a:rPr lang="en-GB" sz="2400" dirty="0" smtClean="0"/>
              <a:t>computation of multiple </a:t>
            </a:r>
            <a:r>
              <a:rPr lang="en-GB" sz="2400" dirty="0"/>
              <a:t>RDDs into a single stag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Pipelining occurs when RDDs can be computed from their parents </a:t>
            </a:r>
            <a:r>
              <a:rPr lang="en-GB" sz="2400" b="1" dirty="0"/>
              <a:t>without data mov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Each stage has </a:t>
            </a:r>
            <a:r>
              <a:rPr lang="en-GB" sz="2400" i="1" dirty="0"/>
              <a:t>tasks </a:t>
            </a:r>
            <a:r>
              <a:rPr lang="en-GB" sz="2400" dirty="0"/>
              <a:t>for each partition in that RD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Spark’s internal scheduler may </a:t>
            </a:r>
            <a:r>
              <a:rPr lang="en-GB" sz="2400" b="1" dirty="0"/>
              <a:t>truncate</a:t>
            </a:r>
            <a:r>
              <a:rPr lang="en-GB" sz="2400" dirty="0"/>
              <a:t> the lineage of the </a:t>
            </a:r>
            <a:r>
              <a:rPr lang="en-GB" sz="2400" b="1" dirty="0"/>
              <a:t>RDD graph </a:t>
            </a:r>
            <a:r>
              <a:rPr lang="en-GB" sz="2400" dirty="0"/>
              <a:t>if an existing RDD has already been persisted</a:t>
            </a: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768282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500" dirty="0"/>
              <a:t>Components of Execution </a:t>
            </a:r>
            <a:r>
              <a:rPr lang="en-US" sz="2500" dirty="0" smtClean="0"/>
              <a:t>(4/4</a:t>
            </a:r>
            <a:r>
              <a:rPr lang="en-US" sz="2500" dirty="0"/>
              <a:t>) – </a:t>
            </a:r>
            <a:r>
              <a:rPr lang="en-US" sz="2500" dirty="0" smtClean="0"/>
              <a:t>Tasks</a:t>
            </a:r>
            <a:endParaRPr lang="en-US" sz="25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9577" y="843524"/>
            <a:ext cx="8362907" cy="1252404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vg_length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.textFil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ileName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latMap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line =&gt;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e.split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“ “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$ | .map( word =&gt; (word[0],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word.length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$ | .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roupByKey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$ | .map((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key,values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=&gt; sum(values)/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ues.length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vg_length.count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 </a:t>
            </a:r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534256" y="843524"/>
            <a:ext cx="7726166" cy="625680"/>
          </a:xfrm>
          <a:prstGeom prst="roundRect">
            <a:avLst/>
          </a:prstGeom>
          <a:solidFill>
            <a:srgbClr val="FFFF00">
              <a:alpha val="23000"/>
            </a:srgbClr>
          </a:solidFill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534256" y="1479853"/>
            <a:ext cx="7726166" cy="461963"/>
          </a:xfrm>
          <a:prstGeom prst="roundRect">
            <a:avLst/>
          </a:prstGeom>
          <a:solidFill>
            <a:schemeClr val="tx1">
              <a:alpha val="23000"/>
            </a:schemeClr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600" y="2252026"/>
            <a:ext cx="8452884" cy="251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1172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river / executor step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 smtClean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675" y="839569"/>
            <a:ext cx="7188489" cy="3947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1491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36540"/>
          </a:xfrm>
        </p:spPr>
        <p:txBody>
          <a:bodyPr/>
          <a:lstStyle/>
          <a:p>
            <a:r>
              <a:rPr lang="en-US" sz="2500" dirty="0" smtClean="0"/>
              <a:t>Summary</a:t>
            </a:r>
            <a:endParaRPr lang="en-US" sz="25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43707" y="877139"/>
            <a:ext cx="8299600" cy="1907157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b="1" dirty="0" smtClean="0"/>
              <a:t>Application: </a:t>
            </a:r>
            <a:r>
              <a:rPr lang="en-GB" sz="2000" dirty="0" smtClean="0"/>
              <a:t>represented by a </a:t>
            </a:r>
            <a:r>
              <a:rPr lang="en-GB" sz="2000" dirty="0" err="1" smtClean="0"/>
              <a:t>SparkContext</a:t>
            </a:r>
            <a:r>
              <a:rPr lang="en-GB" sz="2000" dirty="0" smtClean="0"/>
              <a:t>. Serves </a:t>
            </a:r>
            <a:r>
              <a:rPr lang="en-GB" sz="2000" smtClean="0"/>
              <a:t>several jobs, RDD </a:t>
            </a:r>
            <a:r>
              <a:rPr lang="en-GB" sz="2000" dirty="0" smtClean="0"/>
              <a:t>and shared variables</a:t>
            </a:r>
            <a:endParaRPr lang="en-GB" sz="20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b="1" dirty="0" smtClean="0"/>
              <a:t>Job</a:t>
            </a:r>
            <a:r>
              <a:rPr lang="en-GB" sz="2000" dirty="0" smtClean="0"/>
              <a:t> – a set of tasks executed as a result of an action (arbitrary DAG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b="1" dirty="0" smtClean="0"/>
              <a:t>Stage</a:t>
            </a:r>
            <a:r>
              <a:rPr lang="en-GB" sz="2000" dirty="0" smtClean="0"/>
              <a:t> – a set of tasks in a job that can be executed in parall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b="1" dirty="0" smtClean="0"/>
              <a:t>Task</a:t>
            </a:r>
            <a:r>
              <a:rPr lang="en-GB" sz="2000" dirty="0" smtClean="0"/>
              <a:t> – an individual unit of work sent to one executor</a:t>
            </a:r>
            <a:endParaRPr lang="en-GB" sz="2000" dirty="0"/>
          </a:p>
          <a:p>
            <a:endParaRPr lang="en-US" sz="2000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3604" y="2636144"/>
            <a:ext cx="6192658" cy="206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6090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park Configur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23351"/>
            <a:ext cx="8243888" cy="3721755"/>
          </a:xfrm>
        </p:spPr>
        <p:txBody>
          <a:bodyPr>
            <a:noAutofit/>
          </a:bodyPr>
          <a:lstStyle/>
          <a:p>
            <a:pPr marL="180975" indent="-180975">
              <a:buFont typeface="+mj-lt"/>
              <a:buAutoNum type="arabicPeriod"/>
            </a:pPr>
            <a:r>
              <a:rPr lang="en-US" sz="1800" dirty="0" smtClean="0"/>
              <a:t>Primary mechanism: </a:t>
            </a:r>
            <a:r>
              <a:rPr lang="en-US" sz="1800" dirty="0" err="1" smtClean="0"/>
              <a:t>SparkConf</a:t>
            </a:r>
            <a:endParaRPr lang="en-US" sz="1800" dirty="0" smtClean="0"/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nf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new 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parkConf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nf.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spark.app.name", "My Spark App")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nf.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park.maste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, "local[4]")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nf.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park.ui.por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, "36000") </a:t>
            </a:r>
            <a:r>
              <a:rPr lang="en-US" sz="14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Override the default port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Create a </a:t>
            </a:r>
            <a:r>
              <a:rPr lang="en-US" sz="1400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parkContext</a:t>
            </a:r>
            <a:r>
              <a:rPr lang="en-US" sz="140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with this configuration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new 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parkContex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nf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400050" lvl="2" indent="0">
              <a:buNone/>
            </a:pPr>
            <a:endParaRPr lang="en-US" sz="1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3175" lvl="2" indent="0">
              <a:buNone/>
            </a:pPr>
            <a:r>
              <a:rPr lang="en-US" sz="1600" dirty="0" err="1" smtClean="0"/>
              <a:t>SparkConf</a:t>
            </a:r>
            <a:r>
              <a:rPr lang="en-US" sz="1600" dirty="0" smtClean="0"/>
              <a:t> provides methods to set common </a:t>
            </a:r>
            <a:r>
              <a:rPr lang="en-US" sz="1600" dirty="0" err="1" smtClean="0"/>
              <a:t>params</a:t>
            </a:r>
            <a:r>
              <a:rPr lang="en-US" sz="1600" dirty="0" smtClean="0"/>
              <a:t> like </a:t>
            </a:r>
            <a:r>
              <a:rPr lang="en-US" sz="1600" b="1" dirty="0" err="1" smtClean="0"/>
              <a:t>setAppName</a:t>
            </a:r>
            <a:r>
              <a:rPr lang="en-US" sz="1600" b="1" dirty="0" smtClean="0"/>
              <a:t>()</a:t>
            </a:r>
            <a:r>
              <a:rPr lang="en-US" sz="1600" dirty="0" smtClean="0"/>
              <a:t> and </a:t>
            </a:r>
            <a:r>
              <a:rPr lang="en-US" sz="1600" b="1" dirty="0" err="1" smtClean="0"/>
              <a:t>setMaster</a:t>
            </a:r>
            <a:r>
              <a:rPr lang="en-US" sz="1600" b="1" dirty="0" smtClean="0"/>
              <a:t> ()</a:t>
            </a:r>
          </a:p>
          <a:p>
            <a:pPr marL="180975" indent="-180975">
              <a:buFont typeface="+mj-lt"/>
              <a:buAutoNum type="arabicPeriod"/>
            </a:pPr>
            <a:r>
              <a:rPr lang="en-US" sz="1800" dirty="0"/>
              <a:t>S</a:t>
            </a:r>
            <a:r>
              <a:rPr lang="en-US" sz="1800" dirty="0" smtClean="0"/>
              <a:t>park-submit provides flags for most common </a:t>
            </a:r>
            <a:r>
              <a:rPr lang="en-US" sz="1800" dirty="0" err="1" smtClean="0"/>
              <a:t>config</a:t>
            </a:r>
            <a:r>
              <a:rPr lang="en-US" sz="1800" dirty="0" smtClean="0"/>
              <a:t> and –</a:t>
            </a:r>
            <a:r>
              <a:rPr lang="en-US" sz="1800" dirty="0" err="1" smtClean="0"/>
              <a:t>conf</a:t>
            </a:r>
            <a:r>
              <a:rPr lang="en-US" sz="1800" dirty="0" smtClean="0"/>
              <a:t> to setup any configuration value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$ bin/spark-submit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\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--class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.example.MyApp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\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--master local[4]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\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--name "My Spark App"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\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--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nf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park.ui.por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36000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\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yApp.jar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401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park Configur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97310"/>
            <a:ext cx="8243888" cy="3083019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000" dirty="0" smtClean="0"/>
              <a:t>Spark-submit by default reads the </a:t>
            </a:r>
            <a:r>
              <a:rPr lang="en-US" sz="2000" dirty="0" err="1" smtClean="0"/>
              <a:t>conf</a:t>
            </a:r>
            <a:r>
              <a:rPr lang="en-US" sz="2000" dirty="0" smtClean="0"/>
              <a:t>/spark-</a:t>
            </a:r>
            <a:r>
              <a:rPr lang="en-US" sz="2000" dirty="0" err="1" smtClean="0"/>
              <a:t>default.conf</a:t>
            </a:r>
            <a:r>
              <a:rPr lang="en-US" sz="2000" dirty="0" smtClean="0"/>
              <a:t> file </a:t>
            </a:r>
          </a:p>
          <a:p>
            <a:pPr marL="0" indent="0">
              <a:buNone/>
            </a:pPr>
            <a:r>
              <a:rPr lang="en-US" sz="2000" dirty="0" smtClean="0"/>
              <a:t>- this file location can be customized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$ bin/spark-submit 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\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--class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.example.MyApp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\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--properties-file my-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nfig.conf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\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yApp.jar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## Contents of my-</a:t>
            </a:r>
            <a:r>
              <a:rPr lang="en-US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nfig.conf</a:t>
            </a:r>
            <a:r>
              <a:rPr lang="en-US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##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park.master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local[4]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park.app.name "My Spark App"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park.ui.port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36000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endParaRPr lang="en-US" sz="2000" dirty="0" smtClean="0"/>
          </a:p>
          <a:p>
            <a:pPr marL="3175" lvl="1" indent="0">
              <a:buNone/>
            </a:pPr>
            <a:r>
              <a:rPr lang="en-US" sz="2000" dirty="0" smtClean="0"/>
              <a:t>For a </a:t>
            </a:r>
            <a:r>
              <a:rPr lang="en-US" sz="2000" dirty="0"/>
              <a:t>f</a:t>
            </a:r>
            <a:r>
              <a:rPr lang="en-US" sz="2000" dirty="0" smtClean="0"/>
              <a:t>ull </a:t>
            </a:r>
            <a:r>
              <a:rPr lang="en-US" sz="2000" dirty="0"/>
              <a:t>l</a:t>
            </a:r>
            <a:r>
              <a:rPr lang="en-US" sz="2000" dirty="0" smtClean="0"/>
              <a:t>ist of configuration options see the Spark documentation </a:t>
            </a:r>
          </a:p>
          <a:p>
            <a:pPr marL="3175" lvl="1" indent="0">
              <a:buNone/>
            </a:pPr>
            <a:r>
              <a:rPr lang="en-US" sz="2000" b="1" dirty="0" smtClean="0"/>
              <a:t>http://spark.apache.org/docs/latest/configuration.html</a:t>
            </a:r>
            <a:endParaRPr lang="en-US" sz="2000" b="1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159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park web UI (1/2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90587"/>
            <a:ext cx="8243888" cy="938223"/>
          </a:xfrm>
        </p:spPr>
        <p:txBody>
          <a:bodyPr>
            <a:normAutofit/>
          </a:bodyPr>
          <a:lstStyle/>
          <a:p>
            <a:r>
              <a:rPr lang="en-US" sz="2400" dirty="0" smtClean="0"/>
              <a:t>Available at </a:t>
            </a:r>
            <a:r>
              <a:rPr lang="en-US" sz="2400" i="1" dirty="0" smtClean="0"/>
              <a:t>http://&lt;server-driver&gt;:4040</a:t>
            </a:r>
          </a:p>
          <a:p>
            <a:r>
              <a:rPr lang="en-US" sz="2400" i="1" dirty="0" smtClean="0"/>
              <a:t>YARN: http://&lt;ResourceManager&gt;:4040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err="1" smtClean="0"/>
              <a:t>sparK</a:t>
            </a:r>
            <a:endParaRPr lang="en-US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8311" y="1710744"/>
            <a:ext cx="3825687" cy="30111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43706" y="1828810"/>
            <a:ext cx="495528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b="1" dirty="0"/>
              <a:t>Jobs</a:t>
            </a:r>
            <a:r>
              <a:rPr lang="en-GB" sz="2000" dirty="0"/>
              <a:t>: Progress and metrics of stages, tasks, and </a:t>
            </a:r>
            <a:r>
              <a:rPr lang="en-GB" sz="2000" dirty="0" smtClean="0"/>
              <a:t>m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b="1" dirty="0"/>
              <a:t>Storage</a:t>
            </a:r>
            <a:r>
              <a:rPr lang="en-GB" sz="2000" dirty="0"/>
              <a:t>: Information for RDDs that are </a:t>
            </a:r>
            <a:r>
              <a:rPr lang="en-GB" sz="2000" dirty="0" smtClean="0"/>
              <a:t>persis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b="1" dirty="0"/>
              <a:t>Executors</a:t>
            </a:r>
            <a:r>
              <a:rPr lang="en-GB" sz="2000" dirty="0"/>
              <a:t>: A list of executors present in the </a:t>
            </a:r>
            <a:r>
              <a:rPr lang="en-GB" sz="2000" dirty="0" smtClean="0"/>
              <a:t>appli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b="1" dirty="0"/>
              <a:t>Environment</a:t>
            </a:r>
            <a:r>
              <a:rPr lang="en-GB" sz="2000" dirty="0"/>
              <a:t>: Debugging Spark’s configuration</a:t>
            </a:r>
          </a:p>
          <a:p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2300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-Template_151009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25400">
          <a:solidFill>
            <a:schemeClr val="accent1"/>
          </a:solidFill>
        </a:ln>
      </a:spPr>
      <a:bodyPr lIns="36000" tIns="72000" rIns="36000" bIns="72000" rtlCol="0" anchor="ctr"/>
      <a:lstStyle>
        <a:defPPr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3D7D33DB11EAE45BD9BC443370DB50F" ma:contentTypeVersion="3" ma:contentTypeDescription="Create a new document." ma:contentTypeScope="" ma:versionID="eb7aff425be769235a38d3c0cdada0e5">
  <xsd:schema xmlns:xsd="http://www.w3.org/2001/XMLSchema" xmlns:xs="http://www.w3.org/2001/XMLSchema" xmlns:p="http://schemas.microsoft.com/office/2006/metadata/properties" xmlns:ns2="c2e5be42-5d64-46f5-800b-d2c0373f572f" xmlns:ns3="3ffd839a-a86e-4835-9fad-0cdd6d4e8ba0" targetNamespace="http://schemas.microsoft.com/office/2006/metadata/properties" ma:root="true" ma:fieldsID="b85417593b1b35ece2b6b9c42564e232" ns2:_="" ns3:_="">
    <xsd:import namespace="c2e5be42-5d64-46f5-800b-d2c0373f572f"/>
    <xsd:import namespace="3ffd839a-a86e-4835-9fad-0cdd6d4e8ba0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jd9d0f75caa8411ea4c39ef74a455679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e5be42-5d64-46f5-800b-d2c0373f572f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13" nillable="true" ma:displayName="Taxonomy Catch All Column" ma:hidden="true" ma:list="{d5aabfcc-0dc6-4080-b701-2337a4a29180}" ma:internalName="TaxCatchAll" ma:showField="CatchAllData" ma:web="c2e5be42-5d64-46f5-800b-d2c0373f572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fd839a-a86e-4835-9fad-0cdd6d4e8ba0" elementFormDefault="qualified">
    <xsd:import namespace="http://schemas.microsoft.com/office/2006/documentManagement/types"/>
    <xsd:import namespace="http://schemas.microsoft.com/office/infopath/2007/PartnerControls"/>
    <xsd:element name="jd9d0f75caa8411ea4c39ef74a455679" ma:index="12" nillable="true" ma:taxonomy="true" ma:internalName="jd9d0f75caa8411ea4c39ef74a455679" ma:taxonomyFieldName="Tags" ma:displayName="Tags" ma:default="" ma:fieldId="{3d9d0f75-caa8-411e-a4c3-9ef74a455679}" ma:taxonomyMulti="true" ma:sspId="caaa4a9c-149a-4bb6-9562-3975e6eca66a" ma:termSetId="3392d499-9212-4ef1-9e07-09ffe4c5b8f9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c2e5be42-5d64-46f5-800b-d2c0373f572f">2HU33M2NP4CA-94-142</_dlc_DocId>
    <_dlc_DocIdUrl xmlns="c2e5be42-5d64-46f5-800b-d2c0373f572f">
      <Url>https://share.gft.com/sites/knowledge/BigData/_layouts/DocIdRedir.aspx?ID=2HU33M2NP4CA-94-142</Url>
      <Description>2HU33M2NP4CA-94-142</Description>
    </_dlc_DocIdUrl>
    <jd9d0f75caa8411ea4c39ef74a455679 xmlns="3ffd839a-a86e-4835-9fad-0cdd6d4e8ba0">
      <Terms xmlns="http://schemas.microsoft.com/office/infopath/2007/PartnerControls">
        <TermInfo xmlns="http://schemas.microsoft.com/office/infopath/2007/PartnerControls">
          <TermName xmlns="http://schemas.microsoft.com/office/infopath/2007/PartnerControls">Big Data</TermName>
          <TermId xmlns="http://schemas.microsoft.com/office/infopath/2007/PartnerControls">3584df86-3e23-482e-94b6-e579b1a03a82</TermId>
        </TermInfo>
      </Terms>
    </jd9d0f75caa8411ea4c39ef74a455679>
    <TaxCatchAll xmlns="c2e5be42-5d64-46f5-800b-d2c0373f572f">
      <Value>23</Value>
    </TaxCatchAll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BD5DFB5-44F2-468C-8657-D47CA3EB06E8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3F3E74CE-6191-4D33-B940-004B2C33563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2e5be42-5d64-46f5-800b-d2c0373f572f"/>
    <ds:schemaRef ds:uri="3ffd839a-a86e-4835-9fad-0cdd6d4e8ba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0F1B3C2-59E1-49F3-AC55-C4840754CF72}">
  <ds:schemaRefs>
    <ds:schemaRef ds:uri="http://schemas.microsoft.com/office/2006/metadata/properties"/>
    <ds:schemaRef ds:uri="http://schemas.microsoft.com/office/infopath/2007/PartnerControls"/>
    <ds:schemaRef ds:uri="c2e5be42-5d64-46f5-800b-d2c0373f572f"/>
    <ds:schemaRef ds:uri="3ffd839a-a86e-4835-9fad-0cdd6d4e8ba0"/>
  </ds:schemaRefs>
</ds:datastoreItem>
</file>

<file path=customXml/itemProps4.xml><?xml version="1.0" encoding="utf-8"?>
<ds:datastoreItem xmlns:ds="http://schemas.openxmlformats.org/officeDocument/2006/customXml" ds:itemID="{7487E96E-CDCD-4C58-B8C5-AC5A0C71BB4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-Template_151009</Template>
  <TotalTime>5485</TotalTime>
  <Words>7378</Words>
  <Application>Microsoft Office PowerPoint</Application>
  <PresentationFormat>On-screen Show (16:9)</PresentationFormat>
  <Paragraphs>1198</Paragraphs>
  <Slides>149</Slides>
  <Notes>2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9</vt:i4>
      </vt:variant>
    </vt:vector>
  </HeadingPairs>
  <TitlesOfParts>
    <vt:vector size="158" baseType="lpstr">
      <vt:lpstr>ＭＳ Ｐゴシック</vt:lpstr>
      <vt:lpstr>Arial</vt:lpstr>
      <vt:lpstr>Calibri</vt:lpstr>
      <vt:lpstr>Consolas</vt:lpstr>
      <vt:lpstr>Corbel</vt:lpstr>
      <vt:lpstr>Courier New</vt:lpstr>
      <vt:lpstr>Wingdings</vt:lpstr>
      <vt:lpstr>GFT_Master-Template_151009</vt:lpstr>
      <vt:lpstr>think-cell Folie</vt:lpstr>
      <vt:lpstr>Introduction to Spark</vt:lpstr>
      <vt:lpstr>PowerPoint Presentation</vt:lpstr>
      <vt:lpstr>PowerPoint Presentation</vt:lpstr>
      <vt:lpstr>Scope of the course</vt:lpstr>
      <vt:lpstr>PowerPoint Presentation</vt:lpstr>
      <vt:lpstr>2. Spark Core Concepts</vt:lpstr>
      <vt:lpstr>Exercise 0</vt:lpstr>
      <vt:lpstr>What is Apache Spark</vt:lpstr>
      <vt:lpstr>What is Apache Spark</vt:lpstr>
      <vt:lpstr>What is Apache Spark</vt:lpstr>
      <vt:lpstr>Unified Stack</vt:lpstr>
      <vt:lpstr>Spark cluster infraestructure</vt:lpstr>
      <vt:lpstr>Brief History</vt:lpstr>
      <vt:lpstr>Problems with Hadoop Map-Reduce</vt:lpstr>
      <vt:lpstr>Spark Alternative</vt:lpstr>
      <vt:lpstr>Spark vs Map-Reduce</vt:lpstr>
      <vt:lpstr>Exercise 1</vt:lpstr>
      <vt:lpstr>Basic Concepts</vt:lpstr>
      <vt:lpstr>Basic Concepts</vt:lpstr>
      <vt:lpstr>Basic Concepts</vt:lpstr>
      <vt:lpstr>Using the Spark-Shell</vt:lpstr>
      <vt:lpstr>Spark Operations Example</vt:lpstr>
      <vt:lpstr>Building your own application</vt:lpstr>
      <vt:lpstr>Building your own application</vt:lpstr>
      <vt:lpstr>Exercise 2</vt:lpstr>
      <vt:lpstr>PowerPoint Presentation</vt:lpstr>
      <vt:lpstr>RDD Definition</vt:lpstr>
      <vt:lpstr>RDD Creation</vt:lpstr>
      <vt:lpstr>RDD Basics</vt:lpstr>
      <vt:lpstr>RDD Basics</vt:lpstr>
      <vt:lpstr>Transformations </vt:lpstr>
      <vt:lpstr>Actions</vt:lpstr>
      <vt:lpstr>Actions</vt:lpstr>
      <vt:lpstr>Passing Functions to Spark</vt:lpstr>
      <vt:lpstr>Passing Functions to Spark</vt:lpstr>
      <vt:lpstr>Common Transformations And Actions</vt:lpstr>
      <vt:lpstr>Common Transformations And Actions</vt:lpstr>
      <vt:lpstr>Basic RDD transformations</vt:lpstr>
      <vt:lpstr>Two-RDD transformations</vt:lpstr>
      <vt:lpstr>RDD Basic Actions</vt:lpstr>
      <vt:lpstr>RDD Other Actions</vt:lpstr>
      <vt:lpstr>RDD Other Actions</vt:lpstr>
      <vt:lpstr>Key/Value Pairs RDDs</vt:lpstr>
      <vt:lpstr>Pair RDD Operations</vt:lpstr>
      <vt:lpstr>Pair RDD Operations</vt:lpstr>
      <vt:lpstr>Pair RDD Operations</vt:lpstr>
      <vt:lpstr>Pair RDD Operations</vt:lpstr>
      <vt:lpstr>Exercises</vt:lpstr>
      <vt:lpstr>Persistence (caching)</vt:lpstr>
      <vt:lpstr>Persistence (caching)</vt:lpstr>
      <vt:lpstr>Persistence Levels</vt:lpstr>
      <vt:lpstr>Persistence Levels</vt:lpstr>
      <vt:lpstr>Exercises</vt:lpstr>
      <vt:lpstr>Spark Data Transformations</vt:lpstr>
      <vt:lpstr>Spark Workflow – Partitions (1/2)</vt:lpstr>
      <vt:lpstr>Spark Workflow – the rest (2/2)</vt:lpstr>
      <vt:lpstr>Data Partitioning -- default</vt:lpstr>
      <vt:lpstr>Data Partitioning – single small files</vt:lpstr>
      <vt:lpstr>Data Partitioning – single big files</vt:lpstr>
      <vt:lpstr>Data Partitioning – multiple small files</vt:lpstr>
      <vt:lpstr>Data Partitioning – operations</vt:lpstr>
      <vt:lpstr>Data Partitioning for Key/Value RDDs</vt:lpstr>
      <vt:lpstr>Data Partitioning</vt:lpstr>
      <vt:lpstr>Data Partitioning</vt:lpstr>
      <vt:lpstr>Data Partitioning - Solution</vt:lpstr>
      <vt:lpstr>Data Partitioning -- Solution</vt:lpstr>
      <vt:lpstr>Define the RDD Data Partitioner</vt:lpstr>
      <vt:lpstr>When RDD Data Partitioning</vt:lpstr>
      <vt:lpstr>Numeric RDD Operations</vt:lpstr>
      <vt:lpstr>Exercises</vt:lpstr>
      <vt:lpstr>PowerPoint Presentation</vt:lpstr>
      <vt:lpstr>Spark Runtime architecture</vt:lpstr>
      <vt:lpstr>Spark Standalone Cluster -- Daemons</vt:lpstr>
      <vt:lpstr>Launching a program</vt:lpstr>
      <vt:lpstr>Spark Standalone Cluster Workflow (1/5)</vt:lpstr>
      <vt:lpstr>Spark Standalone Cluster Workflow (2/5)</vt:lpstr>
      <vt:lpstr>Spark Standalone Cluster Workflow (3/5)</vt:lpstr>
      <vt:lpstr>Spark Standalone Cluster Workflow (4/5)</vt:lpstr>
      <vt:lpstr>Spark Standalone Cluster Workflow (5/5)</vt:lpstr>
      <vt:lpstr>Spark on local mode</vt:lpstr>
      <vt:lpstr>Spark with other cluster managers</vt:lpstr>
      <vt:lpstr>Spark modes with other cluster managers</vt:lpstr>
      <vt:lpstr>The Driver</vt:lpstr>
      <vt:lpstr>The Driver – duties</vt:lpstr>
      <vt:lpstr>Executors</vt:lpstr>
      <vt:lpstr>Execution Components – Example (1/5)</vt:lpstr>
      <vt:lpstr>Execution Components – Example (2/5)</vt:lpstr>
      <vt:lpstr>Execution Components – Example (3/5)</vt:lpstr>
      <vt:lpstr>Execution Components – Example (4/5)</vt:lpstr>
      <vt:lpstr>Execution Components – Example (5/5)</vt:lpstr>
      <vt:lpstr>Components of Execution (1/4)</vt:lpstr>
      <vt:lpstr>Components of Execution (2/4) – Stages </vt:lpstr>
      <vt:lpstr>Components of Execution (3/4) – Scheduler</vt:lpstr>
      <vt:lpstr>Components of Execution (4/4) – Tasks</vt:lpstr>
      <vt:lpstr>Driver / executor steps</vt:lpstr>
      <vt:lpstr>Summary</vt:lpstr>
      <vt:lpstr>Spark Configuration</vt:lpstr>
      <vt:lpstr>Spark Configuration</vt:lpstr>
      <vt:lpstr>Spark web UI (1/2)</vt:lpstr>
      <vt:lpstr>Spark web UI (2/2)</vt:lpstr>
      <vt:lpstr>Drivers and Executor logs in cluster</vt:lpstr>
      <vt:lpstr>Performance Tuning</vt:lpstr>
      <vt:lpstr>Performance Tuning</vt:lpstr>
      <vt:lpstr>Serialization</vt:lpstr>
      <vt:lpstr>Exercises</vt:lpstr>
      <vt:lpstr>Shared Variables</vt:lpstr>
      <vt:lpstr>Shared variables – Accumulators</vt:lpstr>
      <vt:lpstr>Shared variables – Accumulators</vt:lpstr>
      <vt:lpstr>Shared Variables – Broadcast</vt:lpstr>
      <vt:lpstr>Exercises</vt:lpstr>
      <vt:lpstr>PowerPoint Presentation</vt:lpstr>
      <vt:lpstr>Load and Save Data</vt:lpstr>
      <vt:lpstr>Load and Save Data – Text Files</vt:lpstr>
      <vt:lpstr>Load and Save Data</vt:lpstr>
      <vt:lpstr>Load and Save Data</vt:lpstr>
      <vt:lpstr>Load and Save Data -- Sequence Files</vt:lpstr>
      <vt:lpstr>Load and Save Data -- Sequence Files</vt:lpstr>
      <vt:lpstr>Load and Save Data – Hadoop</vt:lpstr>
      <vt:lpstr>Load and Save data – File Systems</vt:lpstr>
      <vt:lpstr>Load and Save Data – SQL</vt:lpstr>
      <vt:lpstr>Load and Save Data – Databases</vt:lpstr>
      <vt:lpstr>Load and Save Data – Databases</vt:lpstr>
      <vt:lpstr>PowerPoint Presentation</vt:lpstr>
      <vt:lpstr>Spark SQL</vt:lpstr>
      <vt:lpstr>DataFrame</vt:lpstr>
      <vt:lpstr>Linking with Spark SQL</vt:lpstr>
      <vt:lpstr>Using SparkSQL in Applications</vt:lpstr>
      <vt:lpstr>Using SparkSQL in Applications</vt:lpstr>
      <vt:lpstr>Types stored in DataFrames</vt:lpstr>
      <vt:lpstr>Caching in Spark SQL</vt:lpstr>
      <vt:lpstr>Loading and Saving Data</vt:lpstr>
      <vt:lpstr>Exercises</vt:lpstr>
      <vt:lpstr>Loading and Saving Data</vt:lpstr>
      <vt:lpstr>Loading and Saving Data</vt:lpstr>
      <vt:lpstr>Loading and Saving Data</vt:lpstr>
      <vt:lpstr>Loading and Saving Data</vt:lpstr>
      <vt:lpstr>Loading and Saving Data</vt:lpstr>
      <vt:lpstr>JDBC /ODBC Server</vt:lpstr>
      <vt:lpstr>Working with Beeline</vt:lpstr>
      <vt:lpstr>Working with Beeline</vt:lpstr>
      <vt:lpstr>Spark SQL UDFs</vt:lpstr>
      <vt:lpstr>Exercises</vt:lpstr>
      <vt:lpstr>PowerPoint Presentation</vt:lpstr>
      <vt:lpstr>Spark Streaming</vt:lpstr>
      <vt:lpstr>Spark Streaming</vt:lpstr>
      <vt:lpstr>Spark Streaming</vt:lpstr>
      <vt:lpstr>MLib</vt:lpstr>
      <vt:lpstr>Exercises</vt:lpstr>
      <vt:lpstr>PowerPoint Presentation</vt:lpstr>
    </vt:vector>
  </TitlesOfParts>
  <Company>GFT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rtner for digital transformation</dc:title>
  <dc:creator>GFT</dc:creator>
  <cp:lastModifiedBy>Rey Retortillo, Angel Jose</cp:lastModifiedBy>
  <cp:revision>298</cp:revision>
  <cp:lastPrinted>2015-12-10T11:56:45Z</cp:lastPrinted>
  <dcterms:created xsi:type="dcterms:W3CDTF">2015-10-14T12:33:52Z</dcterms:created>
  <dcterms:modified xsi:type="dcterms:W3CDTF">2016-05-31T18:20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D7D33DB11EAE45BD9BC443370DB50F</vt:lpwstr>
  </property>
  <property fmtid="{D5CDD505-2E9C-101B-9397-08002B2CF9AE}" pid="3" name="_dlc_DocIdItemGuid">
    <vt:lpwstr>6d52848f-7eef-4b18-9ef2-173bb1e00d90</vt:lpwstr>
  </property>
  <property fmtid="{D5CDD505-2E9C-101B-9397-08002B2CF9AE}" pid="4" name="Tags">
    <vt:lpwstr>23;#Big Data|3584df86-3e23-482e-94b6-e579b1a03a82</vt:lpwstr>
  </property>
</Properties>
</file>